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1.xml" ContentType="application/vnd.openxmlformats-officedocument.presentationml.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98" r:id="rId7"/>
  </p:sldMasterIdLst>
  <p:notesMasterIdLst>
    <p:notesMasterId r:id="rId32"/>
  </p:notesMasterIdLst>
  <p:sldIdLst>
    <p:sldId id="378" r:id="rId8"/>
    <p:sldId id="1824" r:id="rId9"/>
    <p:sldId id="380" r:id="rId10"/>
    <p:sldId id="1118" r:id="rId11"/>
    <p:sldId id="1821" r:id="rId12"/>
    <p:sldId id="268" r:id="rId13"/>
    <p:sldId id="1862" r:id="rId14"/>
    <p:sldId id="377" r:id="rId15"/>
    <p:sldId id="1108" r:id="rId16"/>
    <p:sldId id="369" r:id="rId17"/>
    <p:sldId id="1109" r:id="rId18"/>
    <p:sldId id="370" r:id="rId19"/>
    <p:sldId id="1110" r:id="rId20"/>
    <p:sldId id="371" r:id="rId21"/>
    <p:sldId id="1111" r:id="rId22"/>
    <p:sldId id="372" r:id="rId23"/>
    <p:sldId id="1112" r:id="rId24"/>
    <p:sldId id="1857" r:id="rId25"/>
    <p:sldId id="1858" r:id="rId26"/>
    <p:sldId id="1859" r:id="rId27"/>
    <p:sldId id="1860" r:id="rId28"/>
    <p:sldId id="1861" r:id="rId29"/>
    <p:sldId id="1855" r:id="rId30"/>
    <p:sldId id="1856"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E810E96-434B-4365-B98F-ABD63A187CC9}">
          <p14:sldIdLst>
            <p14:sldId id="378"/>
          </p14:sldIdLst>
        </p14:section>
        <p14:section name="Cognitive Services Overview" id="{EAE03B4C-30AC-42AE-A2EC-E97F2FBE0D42}">
          <p14:sldIdLst>
            <p14:sldId id="1824"/>
            <p14:sldId id="380"/>
            <p14:sldId id="1118"/>
            <p14:sldId id="1821"/>
            <p14:sldId id="268"/>
            <p14:sldId id="1862"/>
          </p14:sldIdLst>
        </p14:section>
        <p14:section name="Detailled Overview" id="{165AFBA1-ED4A-4891-8108-739524529F73}">
          <p14:sldIdLst>
            <p14:sldId id="377"/>
            <p14:sldId id="1108"/>
            <p14:sldId id="369"/>
            <p14:sldId id="1109"/>
            <p14:sldId id="370"/>
            <p14:sldId id="1110"/>
            <p14:sldId id="371"/>
            <p14:sldId id="1111"/>
            <p14:sldId id="372"/>
            <p14:sldId id="1112"/>
          </p14:sldIdLst>
        </p14:section>
        <p14:section name="Screenshots" id="{C5202972-F19F-4C4E-9283-18A87215132F}">
          <p14:sldIdLst>
            <p14:sldId id="1857"/>
            <p14:sldId id="1858"/>
            <p14:sldId id="1859"/>
            <p14:sldId id="1860"/>
            <p14:sldId id="1861"/>
          </p14:sldIdLst>
        </p14:section>
        <p14:section name="Closing" id="{EE079418-DC88-483C-845A-7D6E32139C56}">
          <p14:sldIdLst>
            <p14:sldId id="1855"/>
            <p14:sldId id="185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itlyn Ryan" initials="CR" lastIdx="11" clrIdx="0">
    <p:extLst>
      <p:ext uri="{19B8F6BF-5375-455C-9EA6-DF929625EA0E}">
        <p15:presenceInfo xmlns:p15="http://schemas.microsoft.com/office/powerpoint/2012/main" userId="S-1-5-21-383413107-1061881802-891584314-12522" providerId="AD"/>
      </p:ext>
    </p:extLst>
  </p:cmAuthor>
  <p:cmAuthor id="2" name="David Griffith" initials="DG" lastIdx="15" clrIdx="1">
    <p:extLst>
      <p:ext uri="{19B8F6BF-5375-455C-9EA6-DF929625EA0E}">
        <p15:presenceInfo xmlns:p15="http://schemas.microsoft.com/office/powerpoint/2012/main" userId="S-1-5-21-383413107-1061881802-891584314-4667" providerId="AD"/>
      </p:ext>
    </p:extLst>
  </p:cmAuthor>
  <p:cmAuthor id="3" name="Priscila Croxall" initials="PC" lastIdx="20" clrIdx="2">
    <p:extLst>
      <p:ext uri="{19B8F6BF-5375-455C-9EA6-DF929625EA0E}">
        <p15:presenceInfo xmlns:p15="http://schemas.microsoft.com/office/powerpoint/2012/main" userId="S-1-5-21-383413107-1061881802-891584314-1595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9F9"/>
    <a:srgbClr val="FFFFFF"/>
    <a:srgbClr val="047CDA"/>
    <a:srgbClr val="0094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996" autoAdjust="0"/>
    <p:restoredTop sz="61610" autoAdjust="0"/>
  </p:normalViewPr>
  <p:slideViewPr>
    <p:cSldViewPr snapToGrid="0">
      <p:cViewPr varScale="1">
        <p:scale>
          <a:sx n="69" d="100"/>
          <a:sy n="69" d="100"/>
        </p:scale>
        <p:origin x="1292"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1.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s>
</file>

<file path=ppt/comments/comment1.xml><?xml version="1.0" encoding="utf-8"?>
<p:cmLst xmlns:a="http://schemas.openxmlformats.org/drawingml/2006/main" xmlns:r="http://schemas.openxmlformats.org/officeDocument/2006/relationships" xmlns:p="http://schemas.openxmlformats.org/presentationml/2006/main">
  <p:cm authorId="3" dt="2018-06-01T13:16:31.504" idx="20">
    <p:pos x="3677" y="2574"/>
    <p:text>Missing a word here</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C22322-2419-48BB-ADEB-EC66DD673EEA}" type="datetimeFigureOut">
              <a:rPr lang="en-US" smtClean="0"/>
              <a:t>2/2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81ED3B-2C22-4C87-A5B7-47B82DB4EEA7}"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So, what are Cognitive Services?  Cognitive Services are a collection of artificial intelligence APIs, and we believe in </a:t>
            </a:r>
            <a:r>
              <a:rPr lang="en-US" sz="900" i="1" kern="1200" dirty="0">
                <a:solidFill>
                  <a:schemeClr val="tx1"/>
                </a:solidFill>
                <a:effectLst/>
                <a:latin typeface="Segoe UI Light" pitchFamily="34" charset="0"/>
                <a:ea typeface="+mn-ea"/>
                <a:cs typeface="+mn-cs"/>
              </a:rPr>
              <a:t>democratizing</a:t>
            </a:r>
            <a:r>
              <a:rPr lang="en-US" sz="900" kern="1200" dirty="0">
                <a:solidFill>
                  <a:schemeClr val="tx1"/>
                </a:solidFill>
                <a:effectLst/>
                <a:latin typeface="Segoe UI Light" pitchFamily="34" charset="0"/>
                <a:ea typeface="+mn-ea"/>
                <a:cs typeface="+mn-cs"/>
              </a:rPr>
              <a:t> artificial intelligence.  So what that means is, regardless of your skill level -- whether you're a high school student running your first program or working in industry or in a giant enterprise -- that you should be able to use our APIs incredibly quickly in a matter of minute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regardless of your platform -- whether you're on Android or IOS or Windows, or making a website -- all of our APIs are rest APIs, which means you can call them as long as you have an Internet connection.  And so that's pretty huge because what we're doing is making it so that everyone can build these smarter, more context-aware application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technology used in our APIs is the same technology that powers our products today.  And so, when you think of things like the Bing search APIs, it's the same technology from Bing.</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oday I’m going to talk with you about the entire collection spanning vision, speech, language, knowledge, and search.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other things that I want to point out is that you can get started for free with all of the APIs, but we do have pricing available for a number of them, which are in public preview on Azur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other piece is the developer resources.  So, all of our documentation is on the website and actually in GitHub as well, so we do welcome community submissions.  We have a set of SBKs that are also available on GitHub where we welcome poll requests and post everything on there.  The SBKs vary from API to API, but they are all included in this one repository for people to se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then we have three different communities that we support. We have our MSDN forums, our Stack Overflow, and we have User Voice that we use for feedback requests.  </a:t>
            </a:r>
          </a:p>
          <a:p>
            <a:r>
              <a:rPr lang="en-US" sz="900" kern="1200" dirty="0">
                <a:solidFill>
                  <a:schemeClr val="tx1"/>
                </a:solidFill>
                <a:effectLst/>
                <a:latin typeface="Segoe UI Light" pitchFamily="34" charset="0"/>
                <a:ea typeface="+mn-ea"/>
                <a:cs typeface="+mn-cs"/>
              </a:rPr>
              <a:t> </a:t>
            </a:r>
          </a:p>
        </p:txBody>
      </p:sp>
      <p:sp>
        <p:nvSpPr>
          <p:cNvPr id="6" name="Date Placeholder 5"/>
          <p:cNvSpPr>
            <a:spLocks noGrp="1"/>
          </p:cNvSpPr>
          <p:nvPr>
            <p:ph type="dt" idx="12"/>
          </p:nvPr>
        </p:nvSpPr>
        <p:spPr/>
        <p:txBody>
          <a:bodyPr/>
          <a:lstStyle/>
          <a:p>
            <a:fld id="{B192D058-1985-4467-845A-1C29607F2B73}" type="datetime1">
              <a:rPr lang="en-US" smtClean="0"/>
              <a:t>2/24/2020</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8853164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dirty="0"/>
              <a:t>Speech</a:t>
            </a:r>
            <a:r>
              <a:rPr lang="en-US" dirty="0"/>
              <a:t> APIs provide state-of-the-art algorithms to process spoken language powered by Bing. This also includes speech synthesis for a subset of languages supported by speech recognition. With these APIs developers can easily include the ability to add speech driven actions into their applications. In certain cases, the APIs allow for real-time interaction with the user as well.  Additional capabilities include voice recognition and speaker identification as well as providing partial transcription, meaning that for supported languages the developer can get partial results before the user has finished speaking.</a:t>
            </a:r>
          </a:p>
          <a:p>
            <a:pPr marL="0" lvl="0" indent="0">
              <a:buFont typeface="Arial" panose="020B0604020202020204" pitchFamily="34" charset="0"/>
              <a:buNone/>
            </a:pPr>
            <a:endParaRPr lang="en-US" dirty="0"/>
          </a:p>
          <a:p>
            <a:pPr defTabSz="914224">
              <a:spcAft>
                <a:spcPts val="1500"/>
              </a:spcAft>
              <a:defRPr/>
            </a:pPr>
            <a:r>
              <a:rPr lang="en-US" b="1" dirty="0"/>
              <a:t>Bing Speech API: </a:t>
            </a:r>
            <a:r>
              <a:rPr lang="en-US" sz="2400" dirty="0"/>
              <a:t>Convert audio to text, understand intent, and convert text back to speech for natural responsiveness. </a:t>
            </a:r>
            <a:r>
              <a:rPr lang="en-US" kern="0" dirty="0"/>
              <a:t>Converts spoken audio to text. </a:t>
            </a:r>
            <a:r>
              <a:rPr lang="en-US" b="1" kern="0" dirty="0"/>
              <a:t>Synthesize Speech - </a:t>
            </a:r>
            <a:r>
              <a:rPr lang="en-US" kern="0" dirty="0"/>
              <a:t>Synthesize audio from Text. </a:t>
            </a:r>
          </a:p>
          <a:p>
            <a:pPr defTabSz="914224">
              <a:spcAft>
                <a:spcPts val="1500"/>
              </a:spcAft>
              <a:defRPr/>
            </a:pPr>
            <a:endParaRPr lang="en-US" dirty="0"/>
          </a:p>
          <a:p>
            <a:pPr marL="0" lvl="0" indent="0">
              <a:buFont typeface="Arial" panose="020B0604020202020204" pitchFamily="34" charset="0"/>
              <a:buNone/>
            </a:pPr>
            <a:r>
              <a:rPr lang="en-US" b="1" dirty="0"/>
              <a:t>Custom Speech Service: </a:t>
            </a:r>
            <a:r>
              <a:rPr lang="en-US" sz="1400" b="0" i="0" u="none" strike="noStrike" kern="1200" dirty="0">
                <a:solidFill>
                  <a:schemeClr val="tx1"/>
                </a:solidFill>
                <a:effectLst/>
                <a:latin typeface="Segoe UI Light" pitchFamily="34" charset="0"/>
                <a:ea typeface="+mn-ea"/>
                <a:cs typeface="+mn-cs"/>
              </a:rPr>
              <a:t>Custom Speech Service (CRIS) enables you to create customized language models and acoustic models tailored to your application and your users. By uploading speech and/or text data to CRIS that reflects your application and your users, you can create custom models that can be used in conjunction with Microsoft’s existing state-of-the-art speech models. To customize the acoustic model to a particular domain, a collection of speech data is required. This collection consists of a set of audio files of speech data, and a text file of transcriptions of each audio file. The audio data should be representative of the scenario in which you would like to use the recognizer. If you were building an app to search MSDN by voice, it’s likely that terms like “object-oriented” or “namespace” or “dot net” will appear more frequently than in typical voice applications. Customizing the language model will enable the system to learn this.</a:t>
            </a:r>
            <a:r>
              <a:rPr lang="en-US" dirty="0"/>
              <a:t> </a:t>
            </a:r>
            <a:r>
              <a:rPr lang="en-US" sz="1400" b="0" i="0" u="none" strike="noStrike" kern="1200" dirty="0">
                <a:solidFill>
                  <a:schemeClr val="tx1"/>
                </a:solidFill>
                <a:effectLst/>
                <a:latin typeface="Segoe UI Light" pitchFamily="34" charset="0"/>
                <a:ea typeface="+mn-ea"/>
                <a:cs typeface="+mn-cs"/>
              </a:rPr>
              <a:t>CRIS uses acoustic or language model adaptation to enable the speech recognizer to learn the characteristics of the customer’s data while still getting the benefits of all the data and expertise that went into creating the base models that power the Speech API. </a:t>
            </a:r>
          </a:p>
          <a:p>
            <a:pPr marL="0" lvl="0" indent="0">
              <a:buFont typeface="Arial" panose="020B0604020202020204" pitchFamily="34" charset="0"/>
              <a:buNone/>
            </a:pP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0" i="0" u="none" strike="noStrike" kern="1200" dirty="0">
                <a:solidFill>
                  <a:schemeClr val="tx1"/>
                </a:solidFill>
                <a:effectLst/>
                <a:latin typeface="Segoe UI Light" pitchFamily="34" charset="0"/>
                <a:ea typeface="+mn-ea"/>
                <a:cs typeface="+mn-cs"/>
              </a:rPr>
              <a:t>For acoustic model adaptation, the technology is described in this paper:</a:t>
            </a:r>
            <a:br>
              <a:rPr lang="en-US" sz="1400" b="0" i="0" u="none" strike="noStrike" kern="1200" dirty="0">
                <a:solidFill>
                  <a:schemeClr val="tx1"/>
                </a:solidFill>
                <a:effectLst/>
                <a:latin typeface="Segoe UI Light" pitchFamily="34" charset="0"/>
                <a:ea typeface="+mn-ea"/>
                <a:cs typeface="+mn-cs"/>
              </a:rPr>
            </a:br>
            <a:r>
              <a:rPr lang="en-US" sz="1400" b="0" i="0" u="none" strike="noStrike" kern="1200" dirty="0">
                <a:solidFill>
                  <a:schemeClr val="tx1"/>
                </a:solidFill>
                <a:effectLst/>
                <a:latin typeface="Segoe UI Light" pitchFamily="34" charset="0"/>
                <a:ea typeface="+mn-ea"/>
                <a:cs typeface="+mn-cs"/>
              </a:rPr>
              <a:t>http://research.microsoft.com/pubs/194346/0007893.pdf</a:t>
            </a:r>
            <a:r>
              <a:rPr lang="en-US" dirty="0"/>
              <a:t> </a:t>
            </a:r>
          </a:p>
          <a:p>
            <a:pPr marL="0" lvl="0" indent="0">
              <a:buFont typeface="Arial" panose="020B0604020202020204" pitchFamily="34" charset="0"/>
              <a:buNone/>
            </a:pP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0" i="0" u="none" strike="noStrike" kern="1200" dirty="0">
                <a:solidFill>
                  <a:schemeClr val="tx1"/>
                </a:solidFill>
                <a:effectLst/>
                <a:latin typeface="Segoe UI Light" pitchFamily="34" charset="0"/>
                <a:ea typeface="+mn-ea"/>
                <a:cs typeface="+mn-cs"/>
              </a:rPr>
              <a:t>Works well when the data is uploaded to CRIS is truly representative of the user population and the expected usage of the application. For language model adaptation, it works best when the data uploaded reflects what people would actually say. Uploading simply a list of new terms is better than nothing but will not be as effective.  For acoustic model adaptation, if you want to adapt to elderly speech, you need to upload the speech from many different elderly users, not just one or two. If you upload just one person’s voice, CRIS will learn to do a great job on that voice but will not necessarily learn to generalize to other elderly voices. Similarly, if you want to adapt to a new environment, like a factory, you should upload speech data from many speakers in the factory, not just one.</a:t>
            </a:r>
            <a:br>
              <a:rPr lang="en-US" sz="1400" b="0" i="0" u="none" strike="noStrike" kern="1200" dirty="0">
                <a:solidFill>
                  <a:schemeClr val="tx1"/>
                </a:solidFill>
                <a:effectLst/>
                <a:latin typeface="Segoe UI Light" pitchFamily="34" charset="0"/>
                <a:ea typeface="+mn-ea"/>
                <a:cs typeface="+mn-cs"/>
              </a:rPr>
            </a:b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1" i="0" u="none" strike="noStrike" kern="1200" dirty="0">
                <a:solidFill>
                  <a:schemeClr val="tx1"/>
                </a:solidFill>
                <a:effectLst/>
                <a:latin typeface="Segoe UI Light" pitchFamily="34" charset="0"/>
                <a:ea typeface="+mn-ea"/>
                <a:cs typeface="+mn-cs"/>
              </a:rPr>
              <a:t>Speaker Recognition</a:t>
            </a:r>
            <a:r>
              <a:rPr lang="en-US" sz="1400" b="1" i="0" u="none" strike="noStrike" kern="1200" baseline="0" dirty="0">
                <a:solidFill>
                  <a:schemeClr val="tx1"/>
                </a:solidFill>
                <a:effectLst/>
                <a:latin typeface="Segoe UI Light" pitchFamily="34" charset="0"/>
                <a:ea typeface="+mn-ea"/>
                <a:cs typeface="+mn-cs"/>
              </a:rPr>
              <a:t> API:  </a:t>
            </a:r>
            <a:r>
              <a:rPr lang="en-US" sz="1400" b="0" i="0" u="none" strike="noStrike" kern="1200" dirty="0">
                <a:solidFill>
                  <a:schemeClr val="tx1"/>
                </a:solidFill>
                <a:effectLst/>
                <a:latin typeface="Segoe UI Light" pitchFamily="34" charset="0"/>
                <a:ea typeface="+mn-ea"/>
                <a:cs typeface="+mn-cs"/>
              </a:rPr>
              <a:t>Microsoft's state-of-the-art cloud-based speaker recognition algorithms to recognize a human's voice in audio streams. It comprises two components: speaker verification and speaker identification. Speaker Verification can automatically verify and authenticate users from their voice or speech. It is tightly related to authentication scenarios and is often associated with a pass phrase. Hence, we opt for text-dependent approach, which means speakers need to choose a specific pass phrase to use during both enrollment and verification phases. Speaker Identification can automatically identify the person speaking in an audio file given a group of prospective speakers. The input audio is paired against the provided group of speakers, and in case there is a match found, the speaker’s identity is returned. It is text-independent, which means that there are no restrictions on what the speaker says during the enrollment and recognition phases. </a:t>
            </a:r>
            <a:r>
              <a:rPr lang="en-US" dirty="0"/>
              <a:t> A</a:t>
            </a:r>
            <a:r>
              <a:rPr lang="en-US" baseline="0" dirty="0"/>
              <a:t> use case is biometric authentication using voice. </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4/2020 10:1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047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dirty="0"/>
              <a:t>Speech</a:t>
            </a:r>
            <a:r>
              <a:rPr lang="en-US" dirty="0"/>
              <a:t> APIs provide state-of-the-art algorithms to process spoken language powered by Bing. This also includes speech synthesis for a subset of languages supported by speech recognition. With these APIs developers can easily include the ability to add speech driven actions into their applications. In certain cases, the APIs allow for real-time interaction with the user as well.  Additional capabilities include voice recognition and speaker identification as well as providing partial transcription, meaning that for supported languages the developer can get partial results before the user has finished speaking.</a:t>
            </a:r>
          </a:p>
          <a:p>
            <a:pPr marL="0" lvl="0" indent="0">
              <a:buFont typeface="Arial" panose="020B0604020202020204" pitchFamily="34" charset="0"/>
              <a:buNone/>
            </a:pPr>
            <a:endParaRPr lang="en-US" dirty="0"/>
          </a:p>
          <a:p>
            <a:pPr defTabSz="914224">
              <a:spcAft>
                <a:spcPts val="1500"/>
              </a:spcAft>
              <a:defRPr/>
            </a:pPr>
            <a:r>
              <a:rPr lang="en-US" b="1" dirty="0"/>
              <a:t>Bing Speech API: </a:t>
            </a:r>
            <a:r>
              <a:rPr lang="en-US" sz="2400" dirty="0"/>
              <a:t>Convert audio to text, understand intent, and convert text back to speech for natural responsiveness. </a:t>
            </a:r>
            <a:r>
              <a:rPr lang="en-US" kern="0" dirty="0"/>
              <a:t>Converts spoken audio to text. </a:t>
            </a:r>
            <a:r>
              <a:rPr lang="en-US" b="1" kern="0" dirty="0"/>
              <a:t>Synthesize Speech - </a:t>
            </a:r>
            <a:r>
              <a:rPr lang="en-US" kern="0" dirty="0"/>
              <a:t>Synthesize audio from Text. </a:t>
            </a:r>
          </a:p>
          <a:p>
            <a:pPr defTabSz="914224">
              <a:spcAft>
                <a:spcPts val="1500"/>
              </a:spcAft>
              <a:defRPr/>
            </a:pPr>
            <a:endParaRPr lang="en-US" dirty="0"/>
          </a:p>
          <a:p>
            <a:pPr marL="0" lvl="0" indent="0">
              <a:buFont typeface="Arial" panose="020B0604020202020204" pitchFamily="34" charset="0"/>
              <a:buNone/>
            </a:pPr>
            <a:r>
              <a:rPr lang="en-US" b="1" dirty="0"/>
              <a:t>Custom Speech Service: </a:t>
            </a:r>
            <a:r>
              <a:rPr lang="en-US" sz="1400" b="0" i="0" u="none" strike="noStrike" kern="1200" dirty="0">
                <a:solidFill>
                  <a:schemeClr val="tx1"/>
                </a:solidFill>
                <a:effectLst/>
                <a:latin typeface="Segoe UI Light" pitchFamily="34" charset="0"/>
                <a:ea typeface="+mn-ea"/>
                <a:cs typeface="+mn-cs"/>
              </a:rPr>
              <a:t>Custom Speech Service (CRIS) enables you to create customized language models and acoustic models tailored to your application and your users. By uploading speech and/or text data to CRIS that reflects your application and your users, you can create custom models that can be used in conjunction with Microsoft’s existing state-of-the-art speech models. To customize the acoustic model to a particular domain, a collection of speech data is required. This collection consists of a set of audio files of speech data, and a text file of transcriptions of each audio file. The audio data should be representative of the scenario in which you would like to use the recognizer. If you were building an app to search MSDN by voice, it’s likely that terms like “object-oriented” or “namespace” or “dot net” will appear more frequently than in typical voice applications. Customizing the language model will enable the system to learn this.</a:t>
            </a:r>
            <a:r>
              <a:rPr lang="en-US" dirty="0"/>
              <a:t> </a:t>
            </a:r>
            <a:r>
              <a:rPr lang="en-US" sz="1400" b="0" i="0" u="none" strike="noStrike" kern="1200" dirty="0">
                <a:solidFill>
                  <a:schemeClr val="tx1"/>
                </a:solidFill>
                <a:effectLst/>
                <a:latin typeface="Segoe UI Light" pitchFamily="34" charset="0"/>
                <a:ea typeface="+mn-ea"/>
                <a:cs typeface="+mn-cs"/>
              </a:rPr>
              <a:t>CRIS uses acoustic or language model adaptation to enable the speech recognizer to learn the characteristics of the customer’s data while still getting the benefits of all the data and expertise that went into creating the base models that power the Speech API. </a:t>
            </a:r>
          </a:p>
          <a:p>
            <a:pPr marL="0" lvl="0" indent="0">
              <a:buFont typeface="Arial" panose="020B0604020202020204" pitchFamily="34" charset="0"/>
              <a:buNone/>
            </a:pP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0" i="0" u="none" strike="noStrike" kern="1200" dirty="0">
                <a:solidFill>
                  <a:schemeClr val="tx1"/>
                </a:solidFill>
                <a:effectLst/>
                <a:latin typeface="Segoe UI Light" pitchFamily="34" charset="0"/>
                <a:ea typeface="+mn-ea"/>
                <a:cs typeface="+mn-cs"/>
              </a:rPr>
              <a:t>For acoustic model adaptation, the technology is described in this paper:</a:t>
            </a:r>
            <a:br>
              <a:rPr lang="en-US" sz="1400" b="0" i="0" u="none" strike="noStrike" kern="1200" dirty="0">
                <a:solidFill>
                  <a:schemeClr val="tx1"/>
                </a:solidFill>
                <a:effectLst/>
                <a:latin typeface="Segoe UI Light" pitchFamily="34" charset="0"/>
                <a:ea typeface="+mn-ea"/>
                <a:cs typeface="+mn-cs"/>
              </a:rPr>
            </a:br>
            <a:r>
              <a:rPr lang="en-US" sz="1400" b="0" i="0" u="none" strike="noStrike" kern="1200" dirty="0">
                <a:solidFill>
                  <a:schemeClr val="tx1"/>
                </a:solidFill>
                <a:effectLst/>
                <a:latin typeface="Segoe UI Light" pitchFamily="34" charset="0"/>
                <a:ea typeface="+mn-ea"/>
                <a:cs typeface="+mn-cs"/>
              </a:rPr>
              <a:t>http://research.microsoft.com/pubs/194346/0007893.pdf</a:t>
            </a:r>
            <a:r>
              <a:rPr lang="en-US" dirty="0"/>
              <a:t> </a:t>
            </a:r>
          </a:p>
          <a:p>
            <a:pPr marL="0" lvl="0" indent="0">
              <a:buFont typeface="Arial" panose="020B0604020202020204" pitchFamily="34" charset="0"/>
              <a:buNone/>
            </a:pP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0" i="0" u="none" strike="noStrike" kern="1200" dirty="0">
                <a:solidFill>
                  <a:schemeClr val="tx1"/>
                </a:solidFill>
                <a:effectLst/>
                <a:latin typeface="Segoe UI Light" pitchFamily="34" charset="0"/>
                <a:ea typeface="+mn-ea"/>
                <a:cs typeface="+mn-cs"/>
              </a:rPr>
              <a:t>Works well when the data is uploaded to CRIS is truly representative of the user population and the expected usage of the application. For language model adaptation, it works best when the data uploaded reflects what people would actually say. Uploading simply a list of new terms is better than nothing but will not be as effective.  For acoustic model adaptation, if you want to adapt to elderly speech, you need to upload the speech from many different elderly users, not just one or two. If you upload just one person’s voice, CRIS will learn to do a great job on that voice but will not necessarily learn to generalize to other elderly voices. Similarly, if you want to adapt to a new environment, like a factory, you should upload speech data from many speakers in the factory, not just one.</a:t>
            </a:r>
            <a:br>
              <a:rPr lang="en-US" sz="1400" b="0" i="0" u="none" strike="noStrike" kern="1200" dirty="0">
                <a:solidFill>
                  <a:schemeClr val="tx1"/>
                </a:solidFill>
                <a:effectLst/>
                <a:latin typeface="Segoe UI Light" pitchFamily="34" charset="0"/>
                <a:ea typeface="+mn-ea"/>
                <a:cs typeface="+mn-cs"/>
              </a:rPr>
            </a:b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1" i="0" u="none" strike="noStrike" kern="1200" dirty="0">
                <a:solidFill>
                  <a:schemeClr val="tx1"/>
                </a:solidFill>
                <a:effectLst/>
                <a:latin typeface="Segoe UI Light" pitchFamily="34" charset="0"/>
                <a:ea typeface="+mn-ea"/>
                <a:cs typeface="+mn-cs"/>
              </a:rPr>
              <a:t>Speaker Recognition</a:t>
            </a:r>
            <a:r>
              <a:rPr lang="en-US" sz="1400" b="1" i="0" u="none" strike="noStrike" kern="1200" baseline="0" dirty="0">
                <a:solidFill>
                  <a:schemeClr val="tx1"/>
                </a:solidFill>
                <a:effectLst/>
                <a:latin typeface="Segoe UI Light" pitchFamily="34" charset="0"/>
                <a:ea typeface="+mn-ea"/>
                <a:cs typeface="+mn-cs"/>
              </a:rPr>
              <a:t> API:  </a:t>
            </a:r>
            <a:r>
              <a:rPr lang="en-US" sz="1400" b="0" i="0" u="none" strike="noStrike" kern="1200" dirty="0">
                <a:solidFill>
                  <a:schemeClr val="tx1"/>
                </a:solidFill>
                <a:effectLst/>
                <a:latin typeface="Segoe UI Light" pitchFamily="34" charset="0"/>
                <a:ea typeface="+mn-ea"/>
                <a:cs typeface="+mn-cs"/>
              </a:rPr>
              <a:t>Microsoft's state-of-the-art cloud-based speaker recognition algorithms to recognize a human's voice in audio streams. It comprises two components: speaker verification and speaker identification. Speaker Verification can automatically verify and authenticate users from their voice or speech. It is tightly related to authentication scenarios and is often associated with a pass phrase. Hence, we opt for text-dependent approach, which means speakers need to choose a specific pass phrase to use during both enrollment and verification phases. Speaker Identification can automatically identify the person speaking in an audio file given a group of prospective speakers. The input audio is paired against the provided group of speakers, and in case there is a match found, the speaker’s identity is returned. It is text-independent, which means that there are no restrictions on what the speaker says during the enrollment and recognition phases. </a:t>
            </a:r>
            <a:r>
              <a:rPr lang="en-US" dirty="0"/>
              <a:t> A</a:t>
            </a:r>
            <a:r>
              <a:rPr lang="en-US" baseline="0" dirty="0"/>
              <a:t> use case is biometric authentication using voice. </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4/2020 10:1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96470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ing Spell Check API: </a:t>
            </a:r>
            <a:r>
              <a:rPr lang="en-US" sz="1400" b="0" i="0" u="none" strike="noStrike" kern="1200" dirty="0">
                <a:solidFill>
                  <a:schemeClr val="tx1"/>
                </a:solidFill>
                <a:effectLst/>
                <a:latin typeface="Segoe UI Light" pitchFamily="34" charset="0"/>
                <a:ea typeface="+mn-ea"/>
                <a:cs typeface="+mn-cs"/>
              </a:rPr>
              <a:t>Microsoft’s state-of-the-art cloud-based spelling algorithms to detect a wide variety of spelling errors and provide accurate suggestions. Using Bing Spell Check, your mobile and PC apps will be powered with state-of-the-art spelling capabilities. Our service is trained on a massive corpus of data gleaned from billions of web pages.  There is no need to train your own models.  The speller model is updated regularly and incorporates new terms and brands almost as quickly as they appear on the web. This API is available through Microsoft</a:t>
            </a:r>
            <a:r>
              <a:rPr lang="en-US" sz="1400" b="0" i="0" u="none" strike="noStrike" kern="1200" baseline="0" dirty="0">
                <a:solidFill>
                  <a:schemeClr val="tx1"/>
                </a:solidFill>
                <a:effectLst/>
                <a:latin typeface="Segoe UI Light" pitchFamily="34" charset="0"/>
                <a:ea typeface="+mn-ea"/>
                <a:cs typeface="+mn-cs"/>
              </a:rPr>
              <a:t> Cognitive Services </a:t>
            </a:r>
            <a:r>
              <a:rPr lang="en-US" sz="1400" b="0" i="0" u="none" strike="noStrike" kern="1200" dirty="0">
                <a:solidFill>
                  <a:schemeClr val="tx1"/>
                </a:solidFill>
                <a:effectLst/>
                <a:latin typeface="Segoe UI Light" pitchFamily="34" charset="0"/>
                <a:ea typeface="+mn-ea"/>
                <a:cs typeface="+mn-cs"/>
              </a:rPr>
              <a:t>for customers with low-volume and high-latency jobs.  For high-volume and low-latency we have an internal API which may be more suitable.  Contact </a:t>
            </a:r>
            <a:r>
              <a:rPr lang="en-US" sz="1400" b="0" i="0" u="none" strike="noStrike" kern="1200" dirty="0" err="1">
                <a:solidFill>
                  <a:schemeClr val="tx1"/>
                </a:solidFill>
                <a:effectLst/>
                <a:latin typeface="Segoe UI Light" pitchFamily="34" charset="0"/>
                <a:ea typeface="+mn-ea"/>
                <a:cs typeface="+mn-cs"/>
              </a:rPr>
              <a:t>donaldbr</a:t>
            </a:r>
            <a:r>
              <a:rPr lang="en-US" sz="1400" b="0" i="0" u="none" strike="noStrike" kern="1200" dirty="0">
                <a:solidFill>
                  <a:schemeClr val="tx1"/>
                </a:solidFill>
                <a:effectLst/>
                <a:latin typeface="Segoe UI Light" pitchFamily="34" charset="0"/>
                <a:ea typeface="+mn-ea"/>
                <a:cs typeface="+mn-cs"/>
              </a:rPr>
              <a:t> directly for more information. </a:t>
            </a:r>
          </a:p>
          <a:p>
            <a:endParaRPr lang="en-US" sz="1400" b="0" i="0" u="none" strike="noStrike" kern="1200" dirty="0">
              <a:solidFill>
                <a:schemeClr val="tx1"/>
              </a:solidFill>
              <a:effectLst/>
              <a:latin typeface="Segoe UI Light" pitchFamily="34" charset="0"/>
              <a:ea typeface="+mn-ea"/>
              <a:cs typeface="+mn-cs"/>
            </a:endParaRPr>
          </a:p>
          <a:p>
            <a:r>
              <a:rPr lang="en-US" sz="1400" b="0" i="0" u="none" strike="noStrike" kern="1200" dirty="0">
                <a:solidFill>
                  <a:schemeClr val="tx1"/>
                </a:solidFill>
                <a:effectLst/>
                <a:latin typeface="Segoe UI Light" pitchFamily="34" charset="0"/>
                <a:ea typeface="+mn-ea"/>
                <a:cs typeface="+mn-cs"/>
              </a:rPr>
              <a:t>Use cases: 1) Improve the quality of a website's product search 2) provide spell correction for a keyboard app 3) provide spell correction for text fields in an app or web page 4) detect errors in UI text and user data.</a:t>
            </a:r>
            <a:r>
              <a:rPr lang="en-US" sz="1400" b="0" i="0" u="none" strike="noStrike" kern="1200" baseline="0" dirty="0">
                <a:solidFill>
                  <a:schemeClr val="tx1"/>
                </a:solidFill>
                <a:effectLst/>
                <a:latin typeface="Segoe UI Light" pitchFamily="34" charset="0"/>
                <a:ea typeface="+mn-ea"/>
                <a:cs typeface="+mn-cs"/>
              </a:rPr>
              <a:t> See https://blogs.msdn.microsoft.com/msr_er/2010/12/15/building-a-better-speller-bing-and-microsoft-research-offer-prizes-for-best-search-engine-spelling-alteration-services/  The speller is exceptional at common spelling errors with low edit-distance (such as </a:t>
            </a:r>
            <a:r>
              <a:rPr lang="en-US" sz="1400" b="0" i="0" u="none" strike="noStrike" kern="1200" baseline="0" dirty="0" err="1">
                <a:solidFill>
                  <a:schemeClr val="tx1"/>
                </a:solidFill>
                <a:effectLst/>
                <a:latin typeface="Segoe UI Light" pitchFamily="34" charset="0"/>
                <a:ea typeface="+mn-ea"/>
                <a:cs typeface="+mn-cs"/>
              </a:rPr>
              <a:t>febuary</a:t>
            </a:r>
            <a:r>
              <a:rPr lang="en-US" sz="1400" b="0" i="0" u="none" strike="noStrike" kern="1200" baseline="0" dirty="0">
                <a:solidFill>
                  <a:schemeClr val="tx1"/>
                </a:solidFill>
                <a:effectLst/>
                <a:latin typeface="Segoe UI Light" pitchFamily="34" charset="0"/>
                <a:ea typeface="+mn-ea"/>
                <a:cs typeface="+mn-cs"/>
              </a:rPr>
              <a:t>-&gt;February) but a lot of other spellers are good at that as well.  We Do a very good job with word breaking, proper names in context (try "director </a:t>
            </a:r>
            <a:r>
              <a:rPr lang="en-US" sz="1400" b="0" i="0" u="none" strike="noStrike" kern="1200" baseline="0" dirty="0" err="1">
                <a:solidFill>
                  <a:schemeClr val="tx1"/>
                </a:solidFill>
                <a:effectLst/>
                <a:latin typeface="Segoe UI Light" pitchFamily="34" charset="0"/>
                <a:ea typeface="+mn-ea"/>
                <a:cs typeface="+mn-cs"/>
              </a:rPr>
              <a:t>stephen</a:t>
            </a:r>
            <a:r>
              <a:rPr lang="en-US" sz="1400" b="0" i="0" u="none" strike="noStrike" kern="1200" baseline="0" dirty="0">
                <a:solidFill>
                  <a:schemeClr val="tx1"/>
                </a:solidFill>
                <a:effectLst/>
                <a:latin typeface="Segoe UI Light" pitchFamily="34" charset="0"/>
                <a:ea typeface="+mn-ea"/>
                <a:cs typeface="+mn-cs"/>
              </a:rPr>
              <a:t> </a:t>
            </a:r>
            <a:r>
              <a:rPr lang="en-US" sz="1400" b="0" i="0" u="none" strike="noStrike" kern="1200" baseline="0" dirty="0" err="1">
                <a:solidFill>
                  <a:schemeClr val="tx1"/>
                </a:solidFill>
                <a:effectLst/>
                <a:latin typeface="Segoe UI Light" pitchFamily="34" charset="0"/>
                <a:ea typeface="+mn-ea"/>
                <a:cs typeface="+mn-cs"/>
              </a:rPr>
              <a:t>spielberg</a:t>
            </a:r>
            <a:r>
              <a:rPr lang="en-US" sz="1400" b="0" i="0" u="none" strike="noStrike" kern="1200" baseline="0" dirty="0">
                <a:solidFill>
                  <a:schemeClr val="tx1"/>
                </a:solidFill>
                <a:effectLst/>
                <a:latin typeface="Segoe UI Light" pitchFamily="34" charset="0"/>
                <a:ea typeface="+mn-ea"/>
                <a:cs typeface="+mn-cs"/>
              </a:rPr>
              <a:t>") and fictional character names, just a few examples.  Areas that are a challenge are capitalization (we don't know what to do with "March" for example, even with context) and consistency (there are times when we will flag a word only intermittently based on the context).</a:t>
            </a:r>
          </a:p>
          <a:p>
            <a:endParaRPr lang="en-US" sz="1400" b="0" i="0" u="none" strike="noStrike"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1400" b="1" i="0" u="none" strike="noStrike"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400" b="1" i="0" u="none" strike="noStrike" kern="1200" dirty="0">
                <a:solidFill>
                  <a:schemeClr val="tx1"/>
                </a:solidFill>
                <a:effectLst/>
                <a:latin typeface="Segoe UI Light" pitchFamily="34" charset="0"/>
                <a:ea typeface="+mn-ea"/>
                <a:cs typeface="+mn-cs"/>
              </a:rPr>
              <a:t>Language Understanding Intelligent Service (LUIS) </a:t>
            </a:r>
            <a:r>
              <a:rPr lang="en-US" sz="1400" b="0" i="0" u="none" strike="noStrike" kern="1200" dirty="0">
                <a:solidFill>
                  <a:schemeClr val="tx1"/>
                </a:solidFill>
                <a:effectLst/>
                <a:latin typeface="Segoe UI Light" pitchFamily="34" charset="0"/>
                <a:ea typeface="+mn-ea"/>
                <a:cs typeface="+mn-cs"/>
              </a:rPr>
              <a:t>allows developers to build a model that understands natural language and commands tailored to their application.  Example: You can say “turn down the thermostat in the living room,” send it to a LUIS model, and instead of just returning the text that represents what was said, LUIS will return: the action is “turn down,” the location is “living room,” and the target is “thermostat.” LUIS allows developers to iteratively build on these models and take speech or text input and return a structured representation of what the person said.   Not only that but by build LUIS will help developers create and  train smart conversational bot (Intercom or Slack) with a single button.  LUIS will also offer action fulfillment capabilities by simple integration with webhooks. LUIS works pretty well it comes to intents. For the entities, the learning curve is slower especially when the number of entities increases. LUIS only supports 20 intents &amp; 10 entities yet by build each entities can have up to 10 children. </a:t>
            </a:r>
            <a:br>
              <a:rPr lang="en-US" sz="1400" b="0" i="0" u="none" strike="noStrike" kern="1200" dirty="0">
                <a:solidFill>
                  <a:schemeClr val="tx1"/>
                </a:solidFill>
                <a:effectLst/>
                <a:latin typeface="Segoe UI Light" pitchFamily="34" charset="0"/>
                <a:ea typeface="+mn-ea"/>
                <a:cs typeface="+mn-cs"/>
              </a:rPr>
            </a:br>
            <a:endParaRPr lang="en-US" sz="1400" b="0" i="0" u="none" strike="noStrike"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400" b="1" dirty="0">
                <a:latin typeface="Segoe UI Semilight" panose="020B0402040204020203" pitchFamily="34" charset="0"/>
                <a:cs typeface="Segoe UI Semilight" panose="020B0402040204020203" pitchFamily="34" charset="0"/>
              </a:rPr>
              <a:t>Translator API:</a:t>
            </a:r>
            <a:r>
              <a:rPr lang="en-US" sz="1400" b="0" dirty="0">
                <a:latin typeface="Segoe UI Semilight" panose="020B0402040204020203" pitchFamily="34" charset="0"/>
                <a:cs typeface="Segoe UI Semilight" panose="020B0402040204020203" pitchFamily="34" charset="0"/>
              </a:rPr>
              <a:t> Translate</a:t>
            </a:r>
            <a:r>
              <a:rPr lang="en-US" sz="1400" b="0" baseline="0" dirty="0">
                <a:latin typeface="Segoe UI Semilight" panose="020B0402040204020203" pitchFamily="34" charset="0"/>
                <a:cs typeface="Segoe UI Semilight" panose="020B0402040204020203" pitchFamily="34" charset="0"/>
              </a:rPr>
              <a:t> speech and text</a:t>
            </a:r>
          </a:p>
          <a:p>
            <a:pPr marL="171450" indent="-171450" defTabSz="914224">
              <a:lnSpc>
                <a:spcPct val="95000"/>
              </a:lnSpc>
              <a:spcAft>
                <a:spcPts val="1200"/>
              </a:spcAft>
              <a:buFont typeface="Arial" panose="020B0604020202020204" pitchFamily="34" charset="0"/>
              <a:buChar char="•"/>
              <a:defRPr/>
            </a:pPr>
            <a:r>
              <a:rPr lang="en-US" sz="1400" b="1" kern="0" dirty="0"/>
              <a:t>Language Detection</a:t>
            </a:r>
            <a:br>
              <a:rPr lang="en-US" sz="1400" kern="0" dirty="0"/>
            </a:br>
            <a:r>
              <a:rPr lang="en-US" sz="1400" kern="0" dirty="0"/>
              <a:t>Automatically detect the language of  any text string.</a:t>
            </a:r>
          </a:p>
          <a:p>
            <a:pPr marL="171450" indent="-171450" defTabSz="914224">
              <a:lnSpc>
                <a:spcPct val="95000"/>
              </a:lnSpc>
              <a:spcAft>
                <a:spcPts val="1200"/>
              </a:spcAft>
              <a:buFont typeface="Arial" panose="020B0604020202020204" pitchFamily="34" charset="0"/>
              <a:buChar char="•"/>
              <a:defRPr/>
            </a:pPr>
            <a:r>
              <a:rPr lang="en-US" sz="1400" b="1" kern="0" dirty="0"/>
              <a:t>Translation </a:t>
            </a:r>
            <a:br>
              <a:rPr lang="en-US" sz="1400" kern="0" dirty="0"/>
            </a:br>
            <a:r>
              <a:rPr lang="en-US" sz="1400" kern="0" dirty="0"/>
              <a:t>Add speech translation, for any of the 9 supported languages, and text translation, for any of the 60 supported languages, to your app. </a:t>
            </a:r>
          </a:p>
          <a:p>
            <a:pPr marL="171450" indent="-171450" defTabSz="914224">
              <a:lnSpc>
                <a:spcPct val="95000"/>
              </a:lnSpc>
              <a:spcAft>
                <a:spcPts val="1200"/>
              </a:spcAft>
              <a:buFont typeface="Arial" panose="020B0604020202020204" pitchFamily="34" charset="0"/>
              <a:buChar char="•"/>
              <a:defRPr/>
            </a:pPr>
            <a:r>
              <a:rPr lang="en-US" sz="1400" b="1" kern="0" dirty="0"/>
              <a:t>Text to speech (TTS)</a:t>
            </a:r>
            <a:br>
              <a:rPr lang="en-US" sz="1400" kern="0" dirty="0"/>
            </a:br>
            <a:r>
              <a:rPr lang="en-US" sz="1400" kern="0" dirty="0"/>
              <a:t>Send text strings and receive back the audio version in one of the 19 supported languages. </a:t>
            </a:r>
          </a:p>
          <a:p>
            <a:pPr marL="171450" indent="-171450" defTabSz="914224">
              <a:lnSpc>
                <a:spcPct val="95000"/>
              </a:lnSpc>
              <a:spcAft>
                <a:spcPts val="1200"/>
              </a:spcAft>
              <a:buFont typeface="Arial" panose="020B0604020202020204" pitchFamily="34" charset="0"/>
              <a:buChar char="•"/>
              <a:defRPr/>
            </a:pPr>
            <a:r>
              <a:rPr lang="en-US" sz="1400" b="1" kern="0" dirty="0"/>
              <a:t>Custom translation system</a:t>
            </a:r>
            <a:br>
              <a:rPr lang="en-US" sz="1400" kern="0" dirty="0"/>
            </a:br>
            <a:r>
              <a:rPr lang="en-US" sz="1400" kern="0" dirty="0"/>
              <a:t>Build a custom translation system, using as little as 1,000 parallel sentences or start out simply by providing a dictionary of company specific words.</a:t>
            </a:r>
          </a:p>
          <a:p>
            <a:pPr marL="171450" indent="-171450" defTabSz="914224">
              <a:lnSpc>
                <a:spcPct val="95000"/>
              </a:lnSpc>
              <a:spcAft>
                <a:spcPts val="1200"/>
              </a:spcAft>
              <a:buFont typeface="Arial" panose="020B0604020202020204" pitchFamily="34" charset="0"/>
              <a:buChar char="•"/>
              <a:defRPr/>
            </a:pPr>
            <a:r>
              <a:rPr lang="en-US" sz="1400" b="1" kern="0" dirty="0"/>
              <a:t>Collaborative translation network</a:t>
            </a:r>
            <a:br>
              <a:rPr lang="en-US" sz="1400" kern="0" dirty="0"/>
            </a:br>
            <a:r>
              <a:rPr lang="en-US" sz="1400" kern="0" dirty="0"/>
              <a:t>Improve translations by creating a specific user group that provides suggestions to improve the translation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1" dirty="0"/>
              <a:t>Text Analytics API: </a:t>
            </a:r>
            <a:r>
              <a:rPr lang="en-US" sz="1200" b="0" i="0" u="none" strike="noStrike" kern="1200" dirty="0">
                <a:solidFill>
                  <a:schemeClr val="tx1"/>
                </a:solidFill>
                <a:effectLst/>
                <a:latin typeface="+mn-lt"/>
                <a:ea typeface="+mn-ea"/>
                <a:cs typeface="+mn-cs"/>
              </a:rPr>
              <a:t>The Text Analytics API is a cloud-based service that provides advanced natural language processing over raw text, and includes four main functions: sentiment analysis, key phrase extraction, language detection, and entity linking.</a:t>
            </a:r>
            <a:endParaRPr lang="en-US" dirty="0"/>
          </a:p>
          <a:p>
            <a:endParaRPr lang="en-US"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4/2020 10:1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11487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ing Spell Check API: </a:t>
            </a:r>
            <a:r>
              <a:rPr lang="en-US" sz="1200" b="0" i="0" u="none" strike="noStrike" kern="1200" dirty="0">
                <a:solidFill>
                  <a:schemeClr val="tx1"/>
                </a:solidFill>
                <a:effectLst/>
                <a:latin typeface="Segoe UI Light" pitchFamily="34" charset="0"/>
                <a:ea typeface="+mn-ea"/>
                <a:cs typeface="+mn-cs"/>
              </a:rPr>
              <a:t>Microsoft’s state-of-the-art cloud-based spelling algorithms to detect a wide variety of spelling errors and provide accurate suggestions. Using Bing Spell Check, your mobile and PC apps will be powered with state-of-the-art spelling capabilities. Our service is trained on a massive corpus of data gleaned from billions of web pages.  There is no need to train your own models.  The speller model is updated regularly and incorporates new terms and brands almost as quickly as they appear on the web. This API is available through Microsoft</a:t>
            </a:r>
            <a:r>
              <a:rPr lang="en-US" sz="1200" b="0" i="0" u="none" strike="noStrike" kern="1200" baseline="0" dirty="0">
                <a:solidFill>
                  <a:schemeClr val="tx1"/>
                </a:solidFill>
                <a:effectLst/>
                <a:latin typeface="Segoe UI Light" pitchFamily="34" charset="0"/>
                <a:ea typeface="+mn-ea"/>
                <a:cs typeface="+mn-cs"/>
              </a:rPr>
              <a:t> Cognitive Services </a:t>
            </a:r>
            <a:r>
              <a:rPr lang="en-US" sz="1200" b="0" i="0" u="none" strike="noStrike" kern="1200" dirty="0">
                <a:solidFill>
                  <a:schemeClr val="tx1"/>
                </a:solidFill>
                <a:effectLst/>
                <a:latin typeface="Segoe UI Light" pitchFamily="34" charset="0"/>
                <a:ea typeface="+mn-ea"/>
                <a:cs typeface="+mn-cs"/>
              </a:rPr>
              <a:t>for customers with low-volume and high-latency jobs.  For high-volume and low-latency we have an internal API which may be more suitable.  Contact </a:t>
            </a:r>
            <a:r>
              <a:rPr lang="en-US" sz="1200" b="0" i="0" u="none" strike="noStrike" kern="1200" dirty="0" err="1">
                <a:solidFill>
                  <a:schemeClr val="tx1"/>
                </a:solidFill>
                <a:effectLst/>
                <a:latin typeface="Segoe UI Light" pitchFamily="34" charset="0"/>
                <a:ea typeface="+mn-ea"/>
                <a:cs typeface="+mn-cs"/>
              </a:rPr>
              <a:t>donaldbr</a:t>
            </a:r>
            <a:r>
              <a:rPr lang="en-US" sz="1200" b="0" i="0" u="none" strike="noStrike" kern="1200" dirty="0">
                <a:solidFill>
                  <a:schemeClr val="tx1"/>
                </a:solidFill>
                <a:effectLst/>
                <a:latin typeface="Segoe UI Light" pitchFamily="34" charset="0"/>
                <a:ea typeface="+mn-ea"/>
                <a:cs typeface="+mn-cs"/>
              </a:rPr>
              <a:t> directly for more information. </a:t>
            </a:r>
          </a:p>
          <a:p>
            <a:endParaRPr lang="en-US" sz="1200" b="0" i="0" u="none" strike="noStrike" kern="1200" dirty="0">
              <a:solidFill>
                <a:schemeClr val="tx1"/>
              </a:solidFill>
              <a:effectLst/>
              <a:latin typeface="Segoe UI Light" pitchFamily="34" charset="0"/>
              <a:ea typeface="+mn-ea"/>
              <a:cs typeface="+mn-cs"/>
            </a:endParaRPr>
          </a:p>
          <a:p>
            <a:r>
              <a:rPr lang="en-US" sz="1200" b="0" i="0" u="none" strike="noStrike" kern="1200" dirty="0">
                <a:solidFill>
                  <a:schemeClr val="tx1"/>
                </a:solidFill>
                <a:effectLst/>
                <a:latin typeface="Segoe UI Light" pitchFamily="34" charset="0"/>
                <a:ea typeface="+mn-ea"/>
                <a:cs typeface="+mn-cs"/>
              </a:rPr>
              <a:t>Use cases: 1) Improve the quality of a website's product search 2) provide spell correction for a keyboard app 3) provide spell correction for text fields in an app or web page 4) detect errors in UI text and user data.</a:t>
            </a:r>
            <a:r>
              <a:rPr lang="en-US" sz="1200" b="0" i="0" u="none" strike="noStrike" kern="1200" baseline="0" dirty="0">
                <a:solidFill>
                  <a:schemeClr val="tx1"/>
                </a:solidFill>
                <a:effectLst/>
                <a:latin typeface="Segoe UI Light" pitchFamily="34" charset="0"/>
                <a:ea typeface="+mn-ea"/>
                <a:cs typeface="+mn-cs"/>
              </a:rPr>
              <a:t> See https://blogs.msdn.microsoft.com/msr_er/2010/12/15/building-a-better-speller-bing-and-microsoft-research-offer-prizes-for-best-search-engine-spelling-alteration-services/  The speller is exceptional at common spelling errors with low edit-distance (such as </a:t>
            </a:r>
            <a:r>
              <a:rPr lang="en-US" sz="1200" b="0" i="0" u="none" strike="noStrike" kern="1200" baseline="0" dirty="0" err="1">
                <a:solidFill>
                  <a:schemeClr val="tx1"/>
                </a:solidFill>
                <a:effectLst/>
                <a:latin typeface="Segoe UI Light" pitchFamily="34" charset="0"/>
                <a:ea typeface="+mn-ea"/>
                <a:cs typeface="+mn-cs"/>
              </a:rPr>
              <a:t>febuary</a:t>
            </a:r>
            <a:r>
              <a:rPr lang="en-US" sz="1200" b="0" i="0" u="none" strike="noStrike" kern="1200" baseline="0" dirty="0">
                <a:solidFill>
                  <a:schemeClr val="tx1"/>
                </a:solidFill>
                <a:effectLst/>
                <a:latin typeface="Segoe UI Light" pitchFamily="34" charset="0"/>
                <a:ea typeface="+mn-ea"/>
                <a:cs typeface="+mn-cs"/>
              </a:rPr>
              <a:t>-&gt;February) but a lot of other spellers are good at that as well.  We Do a very good job with word breaking, proper names in context (try "director </a:t>
            </a:r>
            <a:r>
              <a:rPr lang="en-US" sz="1200" b="0" i="0" u="none" strike="noStrike" kern="1200" baseline="0" dirty="0" err="1">
                <a:solidFill>
                  <a:schemeClr val="tx1"/>
                </a:solidFill>
                <a:effectLst/>
                <a:latin typeface="Segoe UI Light" pitchFamily="34" charset="0"/>
                <a:ea typeface="+mn-ea"/>
                <a:cs typeface="+mn-cs"/>
              </a:rPr>
              <a:t>stephen</a:t>
            </a:r>
            <a:r>
              <a:rPr lang="en-US" sz="1200" b="0" i="0" u="none" strike="noStrike" kern="1200" baseline="0" dirty="0">
                <a:solidFill>
                  <a:schemeClr val="tx1"/>
                </a:solidFill>
                <a:effectLst/>
                <a:latin typeface="Segoe UI Light" pitchFamily="34" charset="0"/>
                <a:ea typeface="+mn-ea"/>
                <a:cs typeface="+mn-cs"/>
              </a:rPr>
              <a:t> </a:t>
            </a:r>
            <a:r>
              <a:rPr lang="en-US" sz="1200" b="0" i="0" u="none" strike="noStrike" kern="1200" baseline="0" dirty="0" err="1">
                <a:solidFill>
                  <a:schemeClr val="tx1"/>
                </a:solidFill>
                <a:effectLst/>
                <a:latin typeface="Segoe UI Light" pitchFamily="34" charset="0"/>
                <a:ea typeface="+mn-ea"/>
                <a:cs typeface="+mn-cs"/>
              </a:rPr>
              <a:t>spielberg</a:t>
            </a:r>
            <a:r>
              <a:rPr lang="en-US" sz="1200" b="0" i="0" u="none" strike="noStrike" kern="1200" baseline="0" dirty="0">
                <a:solidFill>
                  <a:schemeClr val="tx1"/>
                </a:solidFill>
                <a:effectLst/>
                <a:latin typeface="Segoe UI Light" pitchFamily="34" charset="0"/>
                <a:ea typeface="+mn-ea"/>
                <a:cs typeface="+mn-cs"/>
              </a:rPr>
              <a:t>") and fictional character names, just a few examples.  Areas that are a challenge are capitalization (we don't know what to do with "March" for example, even with context) and consistency (there are times when we will flag a word only intermittently based on the context).</a:t>
            </a:r>
          </a:p>
          <a:p>
            <a:endParaRPr lang="en-US" sz="1200" b="0" i="0" u="none" strike="noStrike"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1200" b="1" i="0" u="none" strike="noStrike"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200" b="1" i="0" u="none" strike="noStrike" kern="1200" dirty="0">
                <a:solidFill>
                  <a:schemeClr val="tx1"/>
                </a:solidFill>
                <a:effectLst/>
                <a:latin typeface="Segoe UI Light" pitchFamily="34" charset="0"/>
                <a:ea typeface="+mn-ea"/>
                <a:cs typeface="+mn-cs"/>
              </a:rPr>
              <a:t>Language Understanding Intelligent Service (LUIS) </a:t>
            </a:r>
            <a:r>
              <a:rPr lang="en-US" sz="1200" b="0" i="0" u="none" strike="noStrike" kern="1200" dirty="0">
                <a:solidFill>
                  <a:schemeClr val="tx1"/>
                </a:solidFill>
                <a:effectLst/>
                <a:latin typeface="Segoe UI Light" pitchFamily="34" charset="0"/>
                <a:ea typeface="+mn-ea"/>
                <a:cs typeface="+mn-cs"/>
              </a:rPr>
              <a:t>allows developers to build a model that understands natural language and commands tailored to their application.  Example: You can say “turn down the thermostat in the living room,” send it to a LUIS model, and instead of just returning the text that represents what was said, LUIS will return: the action is “turn down,” the location is “living room,” and the target is “thermostat.” LUIS allows developers to iteratively build on these models and take speech or text input and return a structured representation of what the person said.   Not only that but by build LUIS will help developers create and  train smart conversational bot (Intercom or Slack) with a single button.  LUIS will also offer action fulfillment capabilities by simple integration with webhooks. LUIS works pretty well it comes to intents. For the entities, the learning curve is slower especially when the number of entities increases. LUIS only supports 20 intents &amp; 10 entities yet by build each entities can have up to 10 children. </a:t>
            </a:r>
            <a:br>
              <a:rPr lang="en-US" sz="1200" b="0" i="0" u="none" strike="noStrike" kern="1200" dirty="0">
                <a:solidFill>
                  <a:schemeClr val="tx1"/>
                </a:solidFill>
                <a:effectLst/>
                <a:latin typeface="Segoe UI Light" pitchFamily="34" charset="0"/>
                <a:ea typeface="+mn-ea"/>
                <a:cs typeface="+mn-cs"/>
              </a:rPr>
            </a:br>
            <a:endParaRPr lang="en-US" sz="1200" b="0" i="0" u="none" strike="noStrike"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1" dirty="0">
                <a:latin typeface="Segoe UI Semilight" panose="020B0402040204020203" pitchFamily="34" charset="0"/>
                <a:cs typeface="Segoe UI Semilight" panose="020B0402040204020203" pitchFamily="34" charset="0"/>
              </a:rPr>
              <a:t>Translator API:</a:t>
            </a:r>
            <a:r>
              <a:rPr lang="en-US" sz="1200" b="0" dirty="0">
                <a:latin typeface="Segoe UI Semilight" panose="020B0402040204020203" pitchFamily="34" charset="0"/>
                <a:cs typeface="Segoe UI Semilight" panose="020B0402040204020203" pitchFamily="34" charset="0"/>
              </a:rPr>
              <a:t> Translate</a:t>
            </a:r>
            <a:r>
              <a:rPr lang="en-US" sz="1200" b="0" baseline="0" dirty="0">
                <a:latin typeface="Segoe UI Semilight" panose="020B0402040204020203" pitchFamily="34" charset="0"/>
                <a:cs typeface="Segoe UI Semilight" panose="020B0402040204020203" pitchFamily="34" charset="0"/>
              </a:rPr>
              <a:t> speech and text</a:t>
            </a:r>
          </a:p>
          <a:p>
            <a:pPr marL="171450" indent="-171450" defTabSz="914224">
              <a:lnSpc>
                <a:spcPct val="95000"/>
              </a:lnSpc>
              <a:spcAft>
                <a:spcPts val="1200"/>
              </a:spcAft>
              <a:buFont typeface="Arial" panose="020B0604020202020204" pitchFamily="34" charset="0"/>
              <a:buChar char="•"/>
              <a:defRPr/>
            </a:pPr>
            <a:r>
              <a:rPr lang="en-US" sz="1200" b="1" kern="0" dirty="0"/>
              <a:t>Language Detection</a:t>
            </a:r>
            <a:br>
              <a:rPr lang="en-US" sz="1200" kern="0" dirty="0"/>
            </a:br>
            <a:r>
              <a:rPr lang="en-US" sz="1200" kern="0" dirty="0"/>
              <a:t>Automatically detect the language of  any text string.</a:t>
            </a:r>
          </a:p>
          <a:p>
            <a:pPr marL="171450" indent="-171450" defTabSz="914224">
              <a:lnSpc>
                <a:spcPct val="95000"/>
              </a:lnSpc>
              <a:spcAft>
                <a:spcPts val="1200"/>
              </a:spcAft>
              <a:buFont typeface="Arial" panose="020B0604020202020204" pitchFamily="34" charset="0"/>
              <a:buChar char="•"/>
              <a:defRPr/>
            </a:pPr>
            <a:r>
              <a:rPr lang="en-US" sz="1200" b="1" kern="0" dirty="0"/>
              <a:t>Translation </a:t>
            </a:r>
            <a:br>
              <a:rPr lang="en-US" sz="1200" kern="0" dirty="0"/>
            </a:br>
            <a:r>
              <a:rPr lang="en-US" sz="1200" kern="0" dirty="0"/>
              <a:t>Add speech translation, for any of the 9 supported languages, and text translation, for any of the 60 supported languages, to your app. </a:t>
            </a:r>
          </a:p>
          <a:p>
            <a:pPr marL="171450" indent="-171450" defTabSz="914224">
              <a:lnSpc>
                <a:spcPct val="95000"/>
              </a:lnSpc>
              <a:spcAft>
                <a:spcPts val="1200"/>
              </a:spcAft>
              <a:buFont typeface="Arial" panose="020B0604020202020204" pitchFamily="34" charset="0"/>
              <a:buChar char="•"/>
              <a:defRPr/>
            </a:pPr>
            <a:r>
              <a:rPr lang="en-US" sz="1200" b="1" kern="0" dirty="0"/>
              <a:t>Text to speech (TTS)</a:t>
            </a:r>
            <a:br>
              <a:rPr lang="en-US" sz="1200" kern="0" dirty="0"/>
            </a:br>
            <a:r>
              <a:rPr lang="en-US" sz="1200" kern="0" dirty="0"/>
              <a:t>Send text strings and receive back the audio version in one of the 19 supported languages. </a:t>
            </a:r>
          </a:p>
          <a:p>
            <a:pPr marL="171450" indent="-171450" defTabSz="914224">
              <a:lnSpc>
                <a:spcPct val="95000"/>
              </a:lnSpc>
              <a:spcAft>
                <a:spcPts val="1200"/>
              </a:spcAft>
              <a:buFont typeface="Arial" panose="020B0604020202020204" pitchFamily="34" charset="0"/>
              <a:buChar char="•"/>
              <a:defRPr/>
            </a:pPr>
            <a:r>
              <a:rPr lang="en-US" sz="1200" b="1" kern="0" dirty="0"/>
              <a:t>Custom translation system</a:t>
            </a:r>
            <a:br>
              <a:rPr lang="en-US" sz="1200" kern="0" dirty="0"/>
            </a:br>
            <a:r>
              <a:rPr lang="en-US" sz="1200" kern="0" dirty="0"/>
              <a:t>Build a custom translation system, using as little as 1,000 parallel sentences or start out simply by providing a dictionary of company specific words.</a:t>
            </a:r>
          </a:p>
          <a:p>
            <a:pPr marL="171450" indent="-171450" defTabSz="914224">
              <a:lnSpc>
                <a:spcPct val="95000"/>
              </a:lnSpc>
              <a:spcAft>
                <a:spcPts val="1200"/>
              </a:spcAft>
              <a:buFont typeface="Arial" panose="020B0604020202020204" pitchFamily="34" charset="0"/>
              <a:buChar char="•"/>
              <a:defRPr/>
            </a:pPr>
            <a:r>
              <a:rPr lang="en-US" sz="1200" b="1" kern="0" dirty="0"/>
              <a:t>Collaborative translation network</a:t>
            </a:r>
            <a:br>
              <a:rPr lang="en-US" sz="1200" kern="0" dirty="0"/>
            </a:br>
            <a:r>
              <a:rPr lang="en-US" sz="1200" kern="0" dirty="0"/>
              <a:t>Improve translations by creating a specific user group that provides suggestions to improve the translation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1" dirty="0"/>
              <a:t>Text Analytics API: </a:t>
            </a:r>
            <a:r>
              <a:rPr lang="en-US" sz="1100" b="0" i="0" u="none" strike="noStrike" kern="1200" dirty="0">
                <a:solidFill>
                  <a:schemeClr val="tx1"/>
                </a:solidFill>
                <a:effectLst/>
                <a:latin typeface="+mn-lt"/>
                <a:ea typeface="+mn-ea"/>
                <a:cs typeface="+mn-cs"/>
              </a:rPr>
              <a:t>The Text Analytics API is a cloud-based service that provides advanced natural language processing over raw text, and includes four main functions: sentiment analysis, key phrase extraction, language detection, and entity linking.</a:t>
            </a:r>
            <a:endParaRPr lang="en-US" dirty="0"/>
          </a:p>
          <a:p>
            <a:endParaRPr lang="en-US"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4/2020 10:1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24722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baseline="0" dirty="0"/>
              <a:t>Custom Decision Service: </a:t>
            </a:r>
            <a:r>
              <a:rPr lang="en-US" dirty="0"/>
              <a:t>a service that helps you create intelligent systems with a cloud-based contextual decision-making API that adapts with experience. Custom Decision service uses reinforcement learning in a new approach for personalizing content; it’s able to plug into your application and helps to make decisions in real time as it automatically adapts to optimize your metrics over time</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1"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dirty="0" err="1"/>
              <a:t>QnA</a:t>
            </a:r>
            <a:r>
              <a:rPr lang="en-US" b="1" dirty="0"/>
              <a:t> Maker : Distill information into conversational, easy-to-navigate answers.</a:t>
            </a:r>
          </a:p>
          <a:p>
            <a:r>
              <a:rPr lang="en-US" b="1" dirty="0"/>
              <a:t>Extract questions and answers</a:t>
            </a:r>
          </a:p>
          <a:p>
            <a:r>
              <a:rPr lang="en-US" dirty="0" err="1"/>
              <a:t>QnA</a:t>
            </a:r>
            <a:r>
              <a:rPr lang="en-US" dirty="0"/>
              <a:t> Maker extracts all possible pairs of questions and answers from user provided content – FAQ URLs, documents and editorial content.</a:t>
            </a:r>
          </a:p>
          <a:p>
            <a:r>
              <a:rPr lang="en-US" b="1" dirty="0"/>
              <a:t>Test, train and publish</a:t>
            </a:r>
          </a:p>
          <a:p>
            <a:r>
              <a:rPr lang="en-US" dirty="0"/>
              <a:t>Through </a:t>
            </a:r>
            <a:r>
              <a:rPr lang="en-US" dirty="0" err="1"/>
              <a:t>QnA</a:t>
            </a:r>
            <a:r>
              <a:rPr lang="en-US" dirty="0"/>
              <a:t> Maker’s easy-to-use GUI, you can edit, remove or add pair before testing and training the knowledge base and publishing your knowledge base as an API endpoint.</a:t>
            </a:r>
          </a:p>
          <a:p>
            <a:r>
              <a:rPr lang="en-US" b="1" dirty="0"/>
              <a:t>Integrates with other APIs and solutions</a:t>
            </a:r>
          </a:p>
          <a:p>
            <a:r>
              <a:rPr lang="en-US" dirty="0" err="1"/>
              <a:t>QnA</a:t>
            </a:r>
            <a:r>
              <a:rPr lang="en-US" dirty="0"/>
              <a:t> Maker integrates with other APIs seamlessly and at scale. Use </a:t>
            </a:r>
            <a:r>
              <a:rPr lang="en-US" dirty="0" err="1"/>
              <a:t>QnA</a:t>
            </a:r>
            <a:r>
              <a:rPr lang="en-US" dirty="0"/>
              <a:t> Maker with Cognitive Services such as Language Understanding Intelligent Service and create something as elegantly simple as a chat bot that answers FAQs, or as complex as an interactive virtual guide.</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1" dirty="0"/>
          </a:p>
          <a:p>
            <a:pPr marL="0" lvl="0" indent="0">
              <a:buFont typeface="Arial" panose="020B0604020202020204" pitchFamily="34" charset="0"/>
              <a:buNone/>
            </a:pPr>
            <a:endParaRPr lang="en-US"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4/2020 10:1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23285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baseline="0" dirty="0"/>
              <a:t>Custom Decision Service: </a:t>
            </a:r>
            <a:r>
              <a:rPr lang="en-US" dirty="0"/>
              <a:t>a service that helps you create intelligent systems with a cloud-based contextual decision-making API that adapts with experience. Custom Decision service uses reinforcement learning in a new approach for personalizing content; it’s able to plug into your application and helps to make decisions in real time as it automatically adapts to optimize your metrics over time</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1"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dirty="0"/>
              <a:t>QnA Maker : Distill information into conversational, easy-to-navigate answers.</a:t>
            </a:r>
          </a:p>
          <a:p>
            <a:r>
              <a:rPr lang="en-US" b="1" dirty="0"/>
              <a:t>Extract questions and answers</a:t>
            </a:r>
          </a:p>
          <a:p>
            <a:r>
              <a:rPr lang="en-US" dirty="0"/>
              <a:t>QnA Maker extracts all possible pairs of questions and answers from user provided content – FAQ URLs, documents and editorial content.</a:t>
            </a:r>
          </a:p>
          <a:p>
            <a:r>
              <a:rPr lang="en-US" b="1" dirty="0"/>
              <a:t>Test, train and publish</a:t>
            </a:r>
          </a:p>
          <a:p>
            <a:r>
              <a:rPr lang="en-US" dirty="0"/>
              <a:t>Through QnA Maker’s easy-to-use GUI, you can edit, remove or add pair before testing and training the knowledge base and publishing your knowledge base as an API endpoint.</a:t>
            </a:r>
          </a:p>
          <a:p>
            <a:r>
              <a:rPr lang="en-US" b="1" dirty="0"/>
              <a:t>Integrates with other APIs and solutions</a:t>
            </a:r>
          </a:p>
          <a:p>
            <a:r>
              <a:rPr lang="en-US" dirty="0"/>
              <a:t>QnA Maker integrates with other APIs seamlessly and at scale. Use QnA Maker with Cognitive Services such as Language Understanding Intelligent Service and create something as elegantly simple as a chat bot that answers FAQs, or as complex as an interactive virtual guide.</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1" dirty="0"/>
          </a:p>
          <a:p>
            <a:pPr marL="0" lvl="0" indent="0">
              <a:buFont typeface="Arial" panose="020B0604020202020204" pitchFamily="34" charset="0"/>
              <a:buNone/>
            </a:pPr>
            <a:endParaRPr lang="en-US"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4/2020 10:1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16514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b="0" i="0" u="none" strike="noStrike" kern="1200" dirty="0">
                <a:solidFill>
                  <a:schemeClr val="tx1"/>
                </a:solidFill>
                <a:effectLst/>
                <a:latin typeface="Segoe UI Light" pitchFamily="34" charset="0"/>
                <a:ea typeface="+mn-ea"/>
                <a:cs typeface="+mn-cs"/>
              </a:rPr>
              <a:t>The Search APIs provide access to the search technology that power Bing.com and a long list of 1st-party (Office, Cortana, Xbox, Edge) and 3rd-party partners. In total, we have 4 Search APIs for web, image, video and news search. In addition we provide access to our Autosuggest (type-ahead) and Spell Check services.</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Web Search API: </a:t>
            </a:r>
            <a:r>
              <a:rPr lang="en-US" sz="900" b="0" i="0" u="none" strike="noStrike" kern="1200" baseline="0" dirty="0">
                <a:solidFill>
                  <a:schemeClr val="tx1"/>
                </a:solidFill>
                <a:effectLst/>
                <a:latin typeface="Segoe UI Light" pitchFamily="34" charset="0"/>
                <a:ea typeface="+mn-ea"/>
                <a:cs typeface="+mn-cs"/>
              </a:rPr>
              <a:t>is th</a:t>
            </a:r>
            <a:r>
              <a:rPr lang="en-US" sz="900" b="0" i="0" u="none" strike="noStrike" kern="1200" dirty="0">
                <a:solidFill>
                  <a:schemeClr val="tx1"/>
                </a:solidFill>
                <a:effectLst/>
                <a:latin typeface="Segoe UI Light" pitchFamily="34" charset="0"/>
                <a:ea typeface="+mn-ea"/>
                <a:cs typeface="+mn-cs"/>
              </a:rPr>
              <a:t>e main Search API. With one programmatic call, the user can get back relevant webpage, image, video, and news results. It's equivalent to searching in the web vertical in bing.com. The Search APIs provide the power of the Bing Search engine to developers. You get access to many of the latest and greatest capabilities the bing.com site has to offer, in the form of an API. It's the same architecture stack so it's a powerful way to bring the knowledge and intelligence of the search engine to your own experience.</a:t>
            </a:r>
            <a:r>
              <a:rPr lang="en-US" sz="900" dirty="0"/>
              <a:t> </a:t>
            </a:r>
            <a:r>
              <a:rPr lang="en-US" sz="900" b="0" i="0" u="none" strike="noStrike" kern="1200" dirty="0">
                <a:solidFill>
                  <a:schemeClr val="tx1"/>
                </a:solidFill>
                <a:effectLst/>
                <a:latin typeface="Segoe UI Light" pitchFamily="34" charset="0"/>
                <a:ea typeface="+mn-ea"/>
                <a:cs typeface="+mn-cs"/>
              </a:rPr>
              <a:t>The API is built directly on top of the entire Bing stack- you get the quality, relevance, performance and continuous improvements that the rest of the site gets. Similar to Bing.com- tail queries, or obscure terms may have limited results. We're always working to improve the edge cases though and API users will benefit from that.</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Image Search API:  </a:t>
            </a:r>
            <a:r>
              <a:rPr lang="en-US" sz="900" dirty="0"/>
              <a:t>Help users scour the web for images. Results include thumbnails, full image URLs, publishing website info, image metadata, and more. Try out the demo.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Video Search API:  </a:t>
            </a:r>
            <a:r>
              <a:rPr lang="en-US" sz="900" dirty="0"/>
              <a:t>Find videos across the web. Results provide useful metadata including creator, encoding format, video length, view count, and more</a:t>
            </a: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News Search API: </a:t>
            </a:r>
            <a:r>
              <a:rPr lang="en-US" sz="900" dirty="0"/>
              <a:t>Search the web for news articles. Results include details like authoritative image of the news article, related news and categories, provider info, article URL, and date added</a:t>
            </a:r>
          </a:p>
          <a:p>
            <a:pPr marL="0" lvl="0" indent="0">
              <a:buFont typeface="Arial" panose="020B0604020202020204" pitchFamily="34" charset="0"/>
              <a:buNone/>
            </a:pPr>
            <a:endParaRPr lang="en-US" sz="90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baseline="0" dirty="0"/>
              <a:t>Bing Autosuggest API: </a:t>
            </a:r>
            <a:r>
              <a:rPr lang="en-US" sz="900" dirty="0"/>
              <a:t>Help users complete queries faster by adding intelligent type-ahead capabilities to your app or website. Empower users to type less and do more with automated and complete search suggestions.</a:t>
            </a:r>
            <a:endParaRPr lang="en-US" sz="90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Custom Search: </a:t>
            </a:r>
            <a:r>
              <a:rPr lang="en-US" sz="900" dirty="0"/>
              <a:t>lets you create a highly-customized web search experience, which delivers better and more relevant results from your targeted web space. Featuring a straightforward User Interface, Bing Custom Search enables you to create your own web search service without a line of code. Specify the slices of the web that you want to draw from and explore site suggestions to intelligently expand the scope of your search domain. Bing Custom Search can empower businesses of any size, hobbyists and entrepreneurs to design and deploy web search applications for any possible scenario.</a:t>
            </a:r>
            <a:endParaRPr lang="en-US" sz="900" b="1"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Entity Search API </a:t>
            </a:r>
            <a:r>
              <a:rPr lang="en-US" sz="900" b="0" dirty="0"/>
              <a:t>- Search for the most relevant entity</a:t>
            </a:r>
          </a:p>
          <a:p>
            <a:r>
              <a:rPr lang="en-US" sz="900" dirty="0"/>
              <a:t>Harness the power of the web with the Bing Entity Search API. You can enrich your app by infusing knowledge search into existing content. Bing Entity Search API will identify the most relevant entity based on your searched term, spanning multiple entity types such as famous people, places, movies, TV shows, video games, books, and even local businesses near you.</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Visual Search - </a:t>
            </a:r>
            <a:r>
              <a:rPr lang="en-US" sz="900" b="0" baseline="0" dirty="0"/>
              <a:t>a new service in general availability that lets you harness the capabilities of Bing Search to perform intelligent search by image capabilities, such as searching similar products for a given product (e.g. in retail scenario, wherein user would like to see products similar to the one being considered), identifying barcodes, text, celebrities and more!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Statistics-add-in - </a:t>
            </a:r>
            <a:r>
              <a:rPr lang="en-US" sz="900" b="0" baseline="0" dirty="0"/>
              <a:t>an add-in which provides various metrics and rich slicing and dicing capabilities for several Bing APIs</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4/2020 10:1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98394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b="0" i="0" u="none" strike="noStrike" kern="1200" dirty="0">
                <a:solidFill>
                  <a:schemeClr val="tx1"/>
                </a:solidFill>
                <a:effectLst/>
                <a:latin typeface="Segoe UI Light" pitchFamily="34" charset="0"/>
                <a:ea typeface="+mn-ea"/>
                <a:cs typeface="+mn-cs"/>
              </a:rPr>
              <a:t>The Search APIs provide access to the search technology that power Bing.com and a long list of 1st-party (Office, Cortana, Xbox, Edge) and 3rd-party partners. In total, we have 4 Search APIs for web, image, video and news search. In addition we provide access to our Autosuggest (type-ahead) and Spell Check services.</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Web Search API: </a:t>
            </a:r>
            <a:r>
              <a:rPr lang="en-US" sz="900" b="0" i="0" u="none" strike="noStrike" kern="1200" baseline="0" dirty="0">
                <a:solidFill>
                  <a:schemeClr val="tx1"/>
                </a:solidFill>
                <a:effectLst/>
                <a:latin typeface="Segoe UI Light" pitchFamily="34" charset="0"/>
                <a:ea typeface="+mn-ea"/>
                <a:cs typeface="+mn-cs"/>
              </a:rPr>
              <a:t>is th</a:t>
            </a:r>
            <a:r>
              <a:rPr lang="en-US" sz="900" b="0" i="0" u="none" strike="noStrike" kern="1200" dirty="0">
                <a:solidFill>
                  <a:schemeClr val="tx1"/>
                </a:solidFill>
                <a:effectLst/>
                <a:latin typeface="Segoe UI Light" pitchFamily="34" charset="0"/>
                <a:ea typeface="+mn-ea"/>
                <a:cs typeface="+mn-cs"/>
              </a:rPr>
              <a:t>e main Search API. With one programmatic call, the user can get back relevant webpage, image, video, and news results. It's equivalent to searching in the web vertical in bing.com. The Search APIs provide the power of the Bing Search engine to developers. You get access to many of the latest and greatest capabilities the bing.com site has to offer, in the form of an API. It's the same architecture stack so it's a powerful way to bring the knowledge and intelligence of the search engine to your own experience.</a:t>
            </a:r>
            <a:r>
              <a:rPr lang="en-US" sz="900" dirty="0"/>
              <a:t> </a:t>
            </a:r>
            <a:r>
              <a:rPr lang="en-US" sz="900" b="0" i="0" u="none" strike="noStrike" kern="1200" dirty="0">
                <a:solidFill>
                  <a:schemeClr val="tx1"/>
                </a:solidFill>
                <a:effectLst/>
                <a:latin typeface="Segoe UI Light" pitchFamily="34" charset="0"/>
                <a:ea typeface="+mn-ea"/>
                <a:cs typeface="+mn-cs"/>
              </a:rPr>
              <a:t>The API is built directly on top of the entire Bing stack- you get the quality, relevance, performance and continuous improvements that the rest of the site gets. Similar to Bing.com- tail queries, or obscure terms may have limited results. We're always working to improve the edge cases though and API users will benefit from that.</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Image Search API:  </a:t>
            </a:r>
            <a:r>
              <a:rPr lang="en-US" sz="900" dirty="0"/>
              <a:t>Help users scour the web for images. Results include thumbnails, full image URLs, publishing website info, image metadata, and more. Try out the demo.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Video Search API:  </a:t>
            </a:r>
            <a:r>
              <a:rPr lang="en-US" sz="900" dirty="0"/>
              <a:t>Find videos across the web. Results provide useful metadata including creator, encoding format, video length, view count, and more</a:t>
            </a: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News Search API: </a:t>
            </a:r>
            <a:r>
              <a:rPr lang="en-US" sz="900" dirty="0"/>
              <a:t>Search the web for news articles. Results include details like authoritative image of the news article, related news and categories, provider info, article URL, and date added</a:t>
            </a:r>
          </a:p>
          <a:p>
            <a:pPr marL="0" lvl="0" indent="0">
              <a:buFont typeface="Arial" panose="020B0604020202020204" pitchFamily="34" charset="0"/>
              <a:buNone/>
            </a:pPr>
            <a:endParaRPr lang="en-US" sz="90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baseline="0" dirty="0"/>
              <a:t>Bing Autosuggest API: </a:t>
            </a:r>
            <a:r>
              <a:rPr lang="en-US" sz="900" dirty="0"/>
              <a:t>Help users complete queries faster by adding intelligent type-ahead capabilities to your app or website. Empower users to type less and do more with automated and complete search suggestions.</a:t>
            </a:r>
            <a:endParaRPr lang="en-US" sz="90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Custom Search: </a:t>
            </a:r>
            <a:r>
              <a:rPr lang="en-US" sz="900" dirty="0"/>
              <a:t>lets you create a highly-customized web search experience, which delivers better and more relevant results from your targeted web space. Featuring a straightforward User Interface, Bing Custom Search enables you to create your own web search service without a line of code. Specify the slices of the web that you want to draw from and explore site suggestions to intelligently expand the scope of your search domain. Bing Custom Search can empower businesses of any size, hobbyists and entrepreneurs to design and deploy web search applications for any possible scenario.</a:t>
            </a:r>
            <a:endParaRPr lang="en-US" sz="900" b="1"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Entity Search API </a:t>
            </a:r>
            <a:r>
              <a:rPr lang="en-US" sz="900" b="0" dirty="0"/>
              <a:t>- Search for the most relevant entity</a:t>
            </a:r>
          </a:p>
          <a:p>
            <a:r>
              <a:rPr lang="en-US" sz="900" dirty="0"/>
              <a:t>Harness the power of the web with the Bing Entity Search API. You can enrich your app by infusing knowledge search into existing content. Bing Entity Search API will identify the most relevant entity based on your searched term, spanning multiple entity types such as famous people, places, movies, TV shows, video games, books, and even local businesses near you.</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Visual Search - </a:t>
            </a:r>
            <a:r>
              <a:rPr lang="en-US" sz="900" b="0" baseline="0" dirty="0"/>
              <a:t>a new service in general availability that lets you harness the capabilities of Bing Search to perform intelligent search by image capabilities, such as searching similar products for a given product (e.g. in retail scenario, wherein user would like to see products similar to the one being considered), identifying barcodes, text, celebrities and more!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Statistics-add-in - </a:t>
            </a:r>
            <a:r>
              <a:rPr lang="en-US" sz="900" b="0" baseline="0" dirty="0"/>
              <a:t>an add-in which provides various metrics and rich slicing and dicing capabilities for several Bing APIs</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4/2020 10:1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01363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20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87820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cess to strong documentation,</a:t>
            </a:r>
            <a:r>
              <a:rPr lang="en-US" baseline="0"/>
              <a:t> sample code and community resources is critical for developers to be able to understand and become users of Cognitive Services.  Customize these links based on your own resources or use the ones listed here.  </a:t>
            </a:r>
            <a:endParaRPr lang="en-US"/>
          </a:p>
        </p:txBody>
      </p:sp>
    </p:spTree>
    <p:extLst>
      <p:ext uri="{BB962C8B-B14F-4D97-AF65-F5344CB8AC3E}">
        <p14:creationId xmlns:p14="http://schemas.microsoft.com/office/powerpoint/2010/main" val="2802125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4/2020 10:1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60178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a:t>Why choose these APIs ?</a:t>
            </a:r>
            <a:r>
              <a:rPr lang="en-US" sz="900" b="1" baseline="0"/>
              <a:t> </a:t>
            </a:r>
            <a:r>
              <a:rPr lang="en-US" sz="900" baseline="0"/>
              <a:t>They </a:t>
            </a:r>
            <a:r>
              <a:rPr lang="en-US" sz="900"/>
              <a:t>work, and it’s easy. </a:t>
            </a:r>
          </a:p>
          <a:p>
            <a:endParaRPr lang="en-US" sz="900"/>
          </a:p>
          <a:p>
            <a:r>
              <a:rPr lang="en-US" sz="900" b="0"/>
              <a:t>Easy:  T</a:t>
            </a:r>
            <a:r>
              <a:rPr lang="en-US" sz="900"/>
              <a:t>he APIs are easy to implement because of the simple REST calls.  Being REST APIs, there’s a common way to implement and you can get started with all of them for free simply by going to one place, one website, www.microsoft.com/cognitive.  (You don’t have to hunt around to different places.)  </a:t>
            </a:r>
          </a:p>
          <a:p>
            <a:endParaRPr lang="en-US" sz="900"/>
          </a:p>
          <a:p>
            <a:r>
              <a:rPr lang="en-US" sz="900" b="0"/>
              <a:t>Flexible:  </a:t>
            </a:r>
            <a:r>
              <a:rPr lang="en-US" sz="900"/>
              <a:t>We’ve got a breadth of intelligence and knowledge APIs so developers will be able to find what intelligence feature they need; and importantly, they all work on whatever language, framework, or platform developers choose. So, </a:t>
            </a:r>
            <a:r>
              <a:rPr lang="en-US" sz="900" err="1"/>
              <a:t>devs</a:t>
            </a:r>
            <a:r>
              <a:rPr lang="en-US" sz="900"/>
              <a:t> can integrated into their apps—iOS, Android, Windows—using their own tools they know and love (such as python or node.js, etc.).</a:t>
            </a:r>
          </a:p>
          <a:p>
            <a:endParaRPr lang="en-US" sz="900"/>
          </a:p>
          <a:p>
            <a:pPr marL="0" marR="0" indent="0" algn="l" defTabSz="914400" rtl="0" eaLnBrk="1" fontAlgn="auto" latinLnBrk="0" hangingPunct="1">
              <a:lnSpc>
                <a:spcPct val="100000"/>
              </a:lnSpc>
              <a:spcBef>
                <a:spcPts val="0"/>
              </a:spcBef>
              <a:spcAft>
                <a:spcPts val="0"/>
              </a:spcAft>
              <a:buClrTx/>
              <a:buSzTx/>
              <a:buFontTx/>
              <a:buNone/>
              <a:tabLst/>
              <a:defRPr/>
            </a:pPr>
            <a:r>
              <a:rPr lang="en-US" sz="900" b="0"/>
              <a:t>Tested:</a:t>
            </a:r>
            <a:r>
              <a:rPr lang="en-US" sz="900" b="0" baseline="0"/>
              <a:t> </a:t>
            </a:r>
            <a:r>
              <a:rPr lang="en-US" sz="900" b="0"/>
              <a:t>Tap into </a:t>
            </a:r>
            <a:r>
              <a:rPr lang="en-US" sz="900"/>
              <a:t>an ever-growing collection of powerful AI algorithms developed by experts. Developers can trust the quality and expertise build into each  by experts in their field from Microsoft’s Research organization, Bing, and Azure machine learning and these capabilities are used across many Microsoft first party products such as Cortana, Bing</a:t>
            </a:r>
            <a:r>
              <a:rPr lang="en-US" sz="900" baseline="0"/>
              <a:t> and Skype</a:t>
            </a:r>
            <a:r>
              <a:rPr lang="en-US" sz="900"/>
              <a:t>.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4/2020 10:1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35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Notes about CS evolution</a:t>
            </a:r>
          </a:p>
          <a:p>
            <a:pPr lvl="0"/>
            <a:endParaRPr lang="en-US" sz="1200"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a:solidFill>
                  <a:schemeClr val="tx1"/>
                </a:solidFill>
                <a:effectLst/>
                <a:latin typeface="+mn-lt"/>
                <a:ea typeface="+mn-ea"/>
                <a:cs typeface="+mn-cs"/>
              </a:rPr>
              <a:t>Emotion is in Paid preview on Azure. As Face API now integrates Emotion recognition</a:t>
            </a:r>
            <a:r>
              <a:rPr lang="en-US" sz="1200" b="0" kern="1200">
                <a:solidFill>
                  <a:schemeClr val="tx1"/>
                </a:solidFill>
                <a:effectLst/>
                <a:latin typeface="+mn-lt"/>
                <a:ea typeface="+mn-ea"/>
                <a:cs typeface="+mn-cs"/>
              </a:rPr>
              <a:t>, we recommend </a:t>
            </a:r>
            <a:r>
              <a:rPr lang="en-US" sz="1200" b="0" kern="1200" dirty="0">
                <a:solidFill>
                  <a:schemeClr val="tx1"/>
                </a:solidFill>
                <a:effectLst/>
                <a:latin typeface="+mn-lt"/>
                <a:ea typeface="+mn-ea"/>
                <a:cs typeface="+mn-cs"/>
              </a:rPr>
              <a:t>using Face API going forward.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4/2020 10:1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43812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Vision: </a:t>
            </a:r>
            <a:r>
              <a:rPr lang="en-US" sz="1200" kern="1200" dirty="0">
                <a:solidFill>
                  <a:schemeClr val="tx1"/>
                </a:solidFill>
                <a:effectLst/>
                <a:latin typeface="+mn-lt"/>
                <a:ea typeface="+mn-ea"/>
                <a:cs typeface="+mn-cs"/>
              </a:rPr>
              <a:t>Image-processing algorithms to smartly identify, caption and moderate your pictur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omputer vision: </a:t>
            </a:r>
            <a:r>
              <a:rPr lang="en-US" sz="1200" kern="1200" dirty="0">
                <a:solidFill>
                  <a:schemeClr val="tx1"/>
                </a:solidFill>
                <a:effectLst/>
                <a:latin typeface="+mn-lt"/>
                <a:ea typeface="+mn-ea"/>
                <a:cs typeface="+mn-cs"/>
              </a:rPr>
              <a:t>Distill actionable information from imag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ontent Moderator: </a:t>
            </a:r>
            <a:r>
              <a:rPr lang="en-US" sz="1200" kern="1200" dirty="0">
                <a:solidFill>
                  <a:schemeClr val="tx1"/>
                </a:solidFill>
                <a:effectLst/>
                <a:latin typeface="+mn-lt"/>
                <a:ea typeface="+mn-ea"/>
                <a:cs typeface="+mn-cs"/>
              </a:rPr>
              <a:t>Automatically moderate potentially offensive images, text and video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ustomer Vision Service: </a:t>
            </a:r>
            <a:r>
              <a:rPr lang="en-US" sz="1200" kern="1200" dirty="0">
                <a:solidFill>
                  <a:schemeClr val="tx1"/>
                </a:solidFill>
                <a:effectLst/>
                <a:latin typeface="+mn-lt"/>
                <a:ea typeface="+mn-ea"/>
                <a:cs typeface="+mn-cs"/>
              </a:rPr>
              <a:t>Train a web service to recognize specific content in imag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Face</a:t>
            </a:r>
            <a:r>
              <a:rPr lang="en-US" sz="1200" kern="1200" dirty="0">
                <a:solidFill>
                  <a:schemeClr val="tx1"/>
                </a:solidFill>
                <a:effectLst/>
                <a:latin typeface="+mn-lt"/>
                <a:ea typeface="+mn-ea"/>
                <a:cs typeface="+mn-cs"/>
              </a:rPr>
              <a:t>: Identify human faces and emotions in images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Video indexer: </a:t>
            </a:r>
            <a:r>
              <a:rPr lang="en-US" sz="1200" kern="1200" dirty="0">
                <a:solidFill>
                  <a:schemeClr val="tx1"/>
                </a:solidFill>
                <a:effectLst/>
                <a:latin typeface="+mn-lt"/>
                <a:ea typeface="+mn-ea"/>
                <a:cs typeface="+mn-cs"/>
              </a:rPr>
              <a:t>Easily extract insights from your videos to enrich your applications</a:t>
            </a:r>
          </a:p>
          <a:p>
            <a:r>
              <a:rPr lang="en-US" sz="1200" b="1" kern="1200" dirty="0">
                <a:solidFill>
                  <a:schemeClr val="tx1"/>
                </a:solidFill>
                <a:effectLst/>
                <a:latin typeface="+mn-lt"/>
                <a:ea typeface="+mn-ea"/>
                <a:cs typeface="+mn-cs"/>
              </a:rPr>
              <a:t>Speech:</a:t>
            </a:r>
            <a:r>
              <a:rPr lang="en-US" sz="1200" kern="1200" dirty="0">
                <a:solidFill>
                  <a:schemeClr val="tx1"/>
                </a:solidFill>
                <a:effectLst/>
                <a:latin typeface="+mn-lt"/>
                <a:ea typeface="+mn-ea"/>
                <a:cs typeface="+mn-cs"/>
              </a:rPr>
              <a:t> Convert spoken audio into text, use voice for verification, or add speaker recognition to your app</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Speech: </a:t>
            </a:r>
            <a:r>
              <a:rPr lang="en-US" sz="1200" kern="1200" dirty="0">
                <a:solidFill>
                  <a:schemeClr val="tx1"/>
                </a:solidFill>
                <a:effectLst/>
                <a:latin typeface="+mn-lt"/>
                <a:ea typeface="+mn-ea"/>
                <a:cs typeface="+mn-cs"/>
              </a:rPr>
              <a:t>Convert speech to text and text to speech</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Speaker Recognition:</a:t>
            </a:r>
            <a:r>
              <a:rPr lang="en-US" sz="1200" kern="1200" dirty="0">
                <a:solidFill>
                  <a:schemeClr val="tx1"/>
                </a:solidFill>
                <a:effectLst/>
                <a:latin typeface="+mn-lt"/>
                <a:ea typeface="+mn-ea"/>
                <a:cs typeface="+mn-cs"/>
              </a:rPr>
              <a:t> Use speech to identify and authenticate individual speaker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ustom Speech Service: </a:t>
            </a:r>
            <a:r>
              <a:rPr lang="en-US" sz="1200" kern="1200" dirty="0">
                <a:solidFill>
                  <a:schemeClr val="tx1"/>
                </a:solidFill>
                <a:effectLst/>
                <a:latin typeface="+mn-lt"/>
                <a:ea typeface="+mn-ea"/>
                <a:cs typeface="+mn-cs"/>
              </a:rPr>
              <a:t>Overcome speech recognition barriers like speaking style, background noise, and vocabulary</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ranslator Speech:</a:t>
            </a:r>
            <a:r>
              <a:rPr lang="en-US" sz="1200" kern="1200" dirty="0">
                <a:solidFill>
                  <a:schemeClr val="tx1"/>
                </a:solidFill>
                <a:effectLst/>
                <a:latin typeface="+mn-lt"/>
                <a:ea typeface="+mn-ea"/>
                <a:cs typeface="+mn-cs"/>
              </a:rPr>
              <a:t> Easily conduct real-time speech translation on your app</a:t>
            </a:r>
          </a:p>
          <a:p>
            <a:r>
              <a:rPr lang="en-US" sz="1200" b="1" kern="1200" dirty="0">
                <a:solidFill>
                  <a:schemeClr val="tx1"/>
                </a:solidFill>
                <a:effectLst/>
                <a:latin typeface="+mn-lt"/>
                <a:ea typeface="+mn-ea"/>
                <a:cs typeface="+mn-cs"/>
              </a:rPr>
              <a:t>Language: </a:t>
            </a:r>
            <a:r>
              <a:rPr lang="en-US" sz="1200" kern="1200" dirty="0">
                <a:solidFill>
                  <a:schemeClr val="tx1"/>
                </a:solidFill>
                <a:effectLst/>
                <a:latin typeface="+mn-lt"/>
                <a:ea typeface="+mn-ea"/>
                <a:cs typeface="+mn-cs"/>
              </a:rPr>
              <a:t>Enable your apps to process natural language with pre-built scripts, evaluate sentiment and learn how to recognize what users wan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Spell Check: </a:t>
            </a:r>
            <a:r>
              <a:rPr lang="en-US" sz="1200" kern="1200" dirty="0">
                <a:solidFill>
                  <a:schemeClr val="tx1"/>
                </a:solidFill>
                <a:effectLst/>
                <a:latin typeface="+mn-lt"/>
                <a:ea typeface="+mn-ea"/>
                <a:cs typeface="+mn-cs"/>
              </a:rPr>
              <a:t>Add spell checking functionality to your app</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Language Understanding (LUIS): </a:t>
            </a:r>
            <a:r>
              <a:rPr lang="en-US" sz="1200" kern="1200" dirty="0">
                <a:solidFill>
                  <a:schemeClr val="tx1"/>
                </a:solidFill>
                <a:effectLst/>
                <a:latin typeface="+mn-lt"/>
                <a:ea typeface="+mn-ea"/>
                <a:cs typeface="+mn-cs"/>
              </a:rPr>
              <a:t>Add language understanding intelligence to your apps with minimal effor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Linguistic Analysis: </a:t>
            </a:r>
            <a:r>
              <a:rPr lang="en-US" sz="1200" kern="1200" dirty="0">
                <a:solidFill>
                  <a:schemeClr val="tx1"/>
                </a:solidFill>
                <a:effectLst/>
                <a:latin typeface="+mn-lt"/>
                <a:ea typeface="+mn-ea"/>
                <a:cs typeface="+mn-cs"/>
              </a:rPr>
              <a:t>Easily parse complex text with language analysi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ext Analytics: </a:t>
            </a:r>
            <a:r>
              <a:rPr lang="en-US" sz="1200" kern="1200" dirty="0">
                <a:solidFill>
                  <a:schemeClr val="tx1"/>
                </a:solidFill>
                <a:effectLst/>
                <a:latin typeface="+mn-lt"/>
                <a:ea typeface="+mn-ea"/>
                <a:cs typeface="+mn-cs"/>
              </a:rPr>
              <a:t>Easily evaluate sentiment, language, and key phrases to understand what users wan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ranslator Text:</a:t>
            </a:r>
            <a:r>
              <a:rPr lang="en-US" sz="1200" kern="1200" dirty="0">
                <a:solidFill>
                  <a:schemeClr val="tx1"/>
                </a:solidFill>
                <a:effectLst/>
                <a:latin typeface="+mn-lt"/>
                <a:ea typeface="+mn-ea"/>
                <a:cs typeface="+mn-cs"/>
              </a:rPr>
              <a:t> Easily conduct machine translation for 60+ languages</a:t>
            </a:r>
          </a:p>
          <a:p>
            <a:r>
              <a:rPr lang="en-US" sz="1200" b="1" kern="1200" dirty="0">
                <a:solidFill>
                  <a:schemeClr val="tx1"/>
                </a:solidFill>
                <a:effectLst/>
                <a:latin typeface="+mn-lt"/>
                <a:ea typeface="+mn-ea"/>
                <a:cs typeface="+mn-cs"/>
              </a:rPr>
              <a:t>Knowledge: </a:t>
            </a:r>
            <a:r>
              <a:rPr lang="en-US" sz="1200" kern="1200" dirty="0">
                <a:solidFill>
                  <a:schemeClr val="tx1"/>
                </a:solidFill>
                <a:effectLst/>
                <a:latin typeface="+mn-lt"/>
                <a:ea typeface="+mn-ea"/>
                <a:cs typeface="+mn-cs"/>
              </a:rPr>
              <a:t>Map complex information and data in order to solve tasks such as intelligent recommendations and semantic search</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Knowledge Exploration Service: </a:t>
            </a:r>
            <a:r>
              <a:rPr lang="en-US" sz="1200" kern="1200" dirty="0">
                <a:solidFill>
                  <a:schemeClr val="tx1"/>
                </a:solidFill>
                <a:effectLst/>
                <a:latin typeface="+mn-lt"/>
                <a:ea typeface="+mn-ea"/>
                <a:cs typeface="+mn-cs"/>
              </a:rPr>
              <a:t>Enable interactive search experiences over structured data via natural language inpu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Entity Linking Service: </a:t>
            </a:r>
            <a:r>
              <a:rPr lang="en-US" sz="1200" kern="1200" dirty="0">
                <a:solidFill>
                  <a:schemeClr val="tx1"/>
                </a:solidFill>
                <a:effectLst/>
                <a:latin typeface="+mn-lt"/>
                <a:ea typeface="+mn-ea"/>
                <a:cs typeface="+mn-cs"/>
              </a:rPr>
              <a:t>Power your app's data links with named entity recognition and disambiguation</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Academic Knowledge:</a:t>
            </a:r>
            <a:r>
              <a:rPr lang="en-US" sz="1200" kern="1200" dirty="0">
                <a:solidFill>
                  <a:schemeClr val="tx1"/>
                </a:solidFill>
                <a:effectLst/>
                <a:latin typeface="+mn-lt"/>
                <a:ea typeface="+mn-ea"/>
                <a:cs typeface="+mn-cs"/>
              </a:rPr>
              <a:t> Tap into the wealth of academic content in the Microsoft Academic Graph using the Academic Knowledge API</a:t>
            </a:r>
          </a:p>
          <a:p>
            <a:pPr marL="171450" lvl="0" indent="-171450">
              <a:buFont typeface="Arial" panose="020B0604020202020204" pitchFamily="34" charset="0"/>
              <a:buChar char="•"/>
            </a:pPr>
            <a:r>
              <a:rPr lang="en-US" sz="1200" b="1" kern="1200" dirty="0" err="1">
                <a:solidFill>
                  <a:schemeClr val="tx1"/>
                </a:solidFill>
                <a:effectLst/>
                <a:latin typeface="+mn-lt"/>
                <a:ea typeface="+mn-ea"/>
                <a:cs typeface="+mn-cs"/>
              </a:rPr>
              <a:t>QnA</a:t>
            </a:r>
            <a:r>
              <a:rPr lang="en-US" sz="1200" b="1" kern="1200" dirty="0">
                <a:solidFill>
                  <a:schemeClr val="tx1"/>
                </a:solidFill>
                <a:effectLst/>
                <a:latin typeface="+mn-lt"/>
                <a:ea typeface="+mn-ea"/>
                <a:cs typeface="+mn-cs"/>
              </a:rPr>
              <a:t> Maker:</a:t>
            </a:r>
            <a:r>
              <a:rPr lang="en-US" sz="1200" kern="1200" dirty="0">
                <a:solidFill>
                  <a:schemeClr val="tx1"/>
                </a:solidFill>
                <a:effectLst/>
                <a:latin typeface="+mn-lt"/>
                <a:ea typeface="+mn-ea"/>
                <a:cs typeface="+mn-cs"/>
              </a:rPr>
              <a:t> Distill information into an easy-to-navigate FAQ for bot servic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ustomer Decision Service:</a:t>
            </a:r>
            <a:r>
              <a:rPr lang="en-US" sz="1200" kern="1200" dirty="0">
                <a:solidFill>
                  <a:schemeClr val="tx1"/>
                </a:solidFill>
                <a:effectLst/>
                <a:latin typeface="+mn-lt"/>
                <a:ea typeface="+mn-ea"/>
                <a:cs typeface="+mn-cs"/>
              </a:rPr>
              <a:t> Create custom experiences with adaptive, contextual decision-making</a:t>
            </a:r>
          </a:p>
          <a:p>
            <a:r>
              <a:rPr lang="en-US" sz="1200" b="1" kern="1200" dirty="0">
                <a:solidFill>
                  <a:schemeClr val="tx1"/>
                </a:solidFill>
                <a:effectLst/>
                <a:latin typeface="+mn-lt"/>
                <a:ea typeface="+mn-ea"/>
                <a:cs typeface="+mn-cs"/>
              </a:rPr>
              <a:t>Search: </a:t>
            </a:r>
            <a:r>
              <a:rPr lang="en-US" sz="1200" kern="1200" dirty="0">
                <a:solidFill>
                  <a:schemeClr val="tx1"/>
                </a:solidFill>
                <a:effectLst/>
                <a:latin typeface="+mn-lt"/>
                <a:ea typeface="+mn-ea"/>
                <a:cs typeface="+mn-cs"/>
              </a:rPr>
              <a:t>Add Bing Search APIs to your apps and harness the ability to comb billions of webpages, images, videos, and news with a single API call</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Autosuggest: </a:t>
            </a:r>
            <a:r>
              <a:rPr lang="en-US" sz="1200" kern="1200" dirty="0">
                <a:solidFill>
                  <a:schemeClr val="tx1"/>
                </a:solidFill>
                <a:effectLst/>
                <a:latin typeface="+mn-lt"/>
                <a:ea typeface="+mn-ea"/>
                <a:cs typeface="+mn-cs"/>
              </a:rPr>
              <a:t>Give your app intelligent autosuggest options for search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News Search: </a:t>
            </a:r>
            <a:r>
              <a:rPr lang="en-US" sz="1200" kern="1200" dirty="0">
                <a:solidFill>
                  <a:schemeClr val="tx1"/>
                </a:solidFill>
                <a:effectLst/>
                <a:latin typeface="+mn-lt"/>
                <a:ea typeface="+mn-ea"/>
                <a:cs typeface="+mn-cs"/>
              </a:rPr>
              <a:t>Search for news and get comprehensive resul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Web Search: </a:t>
            </a:r>
            <a:r>
              <a:rPr lang="en-US" sz="1200" kern="1200" dirty="0">
                <a:solidFill>
                  <a:schemeClr val="tx1"/>
                </a:solidFill>
                <a:effectLst/>
                <a:latin typeface="+mn-lt"/>
                <a:ea typeface="+mn-ea"/>
                <a:cs typeface="+mn-cs"/>
              </a:rPr>
              <a:t>Get enhanced search details from billions of web documen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Entity Search: </a:t>
            </a:r>
            <a:r>
              <a:rPr lang="en-US" sz="1200" kern="1200" dirty="0">
                <a:solidFill>
                  <a:schemeClr val="tx1"/>
                </a:solidFill>
                <a:effectLst/>
                <a:latin typeface="+mn-lt"/>
                <a:ea typeface="+mn-ea"/>
                <a:cs typeface="+mn-cs"/>
              </a:rPr>
              <a:t>Enrich your experiences by identifying and augmenting entity information from the web</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Image Search: </a:t>
            </a:r>
            <a:r>
              <a:rPr lang="en-US" sz="1200" kern="1200" dirty="0">
                <a:solidFill>
                  <a:schemeClr val="tx1"/>
                </a:solidFill>
                <a:effectLst/>
                <a:latin typeface="+mn-lt"/>
                <a:ea typeface="+mn-ea"/>
                <a:cs typeface="+mn-cs"/>
              </a:rPr>
              <a:t>Search for images and get comprehensive resul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Video Search: </a:t>
            </a:r>
            <a:r>
              <a:rPr lang="en-US" sz="1200" kern="1200" dirty="0">
                <a:solidFill>
                  <a:schemeClr val="tx1"/>
                </a:solidFill>
                <a:effectLst/>
                <a:latin typeface="+mn-lt"/>
                <a:ea typeface="+mn-ea"/>
                <a:cs typeface="+mn-cs"/>
              </a:rPr>
              <a:t>Search for videos and get comprehensive resul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Custom Search: </a:t>
            </a:r>
            <a:r>
              <a:rPr lang="en-US" sz="1200" kern="1200" dirty="0">
                <a:solidFill>
                  <a:schemeClr val="tx1"/>
                </a:solidFill>
                <a:effectLst/>
                <a:latin typeface="+mn-lt"/>
                <a:ea typeface="+mn-ea"/>
                <a:cs typeface="+mn-cs"/>
              </a:rPr>
              <a:t>Create tailored site search or vertical search experiences for topics you care about</a:t>
            </a:r>
          </a:p>
          <a:p>
            <a:r>
              <a:rPr lang="en-US" sz="1200" b="1" kern="1200" dirty="0">
                <a:solidFill>
                  <a:schemeClr val="tx1"/>
                </a:solidFill>
                <a:effectLst/>
                <a:latin typeface="+mn-lt"/>
                <a:ea typeface="+mn-ea"/>
                <a:cs typeface="+mn-cs"/>
              </a:rPr>
              <a:t>Labs: </a:t>
            </a:r>
            <a:r>
              <a:rPr lang="en-US" sz="1200" kern="1200" dirty="0">
                <a:solidFill>
                  <a:schemeClr val="tx1"/>
                </a:solidFill>
                <a:effectLst/>
                <a:latin typeface="+mn-lt"/>
                <a:ea typeface="+mn-ea"/>
                <a:cs typeface="+mn-cs"/>
              </a:rPr>
              <a:t>Cognitive Services Labs are early preview limited availability leading innovation APIs and SDKs that allow developers to start experimenting with Microsoft’s latest and greatest Cognitive Services.</a:t>
            </a:r>
          </a:p>
          <a:p>
            <a:pPr lvl="0"/>
            <a:r>
              <a:rPr lang="en-US" sz="1200" b="1" kern="1200" dirty="0">
                <a:solidFill>
                  <a:schemeClr val="tx1"/>
                </a:solidFill>
                <a:effectLst/>
                <a:latin typeface="+mn-lt"/>
                <a:ea typeface="+mn-ea"/>
                <a:cs typeface="+mn-cs"/>
              </a:rPr>
              <a:t>Project Prague: </a:t>
            </a:r>
            <a:r>
              <a:rPr lang="en-US" sz="1200" kern="1200" dirty="0">
                <a:solidFill>
                  <a:schemeClr val="tx1"/>
                </a:solidFill>
                <a:effectLst/>
                <a:latin typeface="+mn-lt"/>
                <a:ea typeface="+mn-ea"/>
                <a:cs typeface="+mn-cs"/>
              </a:rPr>
              <a:t>SDK to incorporate gesture-based controls into your apps. Quickly define and implement customized hand gestures, creating a more natural user experience. Limited private preview availability at launch.</a:t>
            </a:r>
          </a:p>
          <a:p>
            <a:pPr lvl="0"/>
            <a:r>
              <a:rPr lang="en-US" sz="1200" b="1" kern="1200" dirty="0">
                <a:solidFill>
                  <a:schemeClr val="tx1"/>
                </a:solidFill>
                <a:effectLst/>
                <a:latin typeface="+mn-lt"/>
                <a:ea typeface="+mn-ea"/>
                <a:cs typeface="+mn-cs"/>
              </a:rPr>
              <a:t>Project Cuzco: </a:t>
            </a:r>
            <a:r>
              <a:rPr lang="en-US" sz="1200" kern="1200" dirty="0">
                <a:solidFill>
                  <a:schemeClr val="tx1"/>
                </a:solidFill>
                <a:effectLst/>
                <a:latin typeface="+mn-lt"/>
                <a:ea typeface="+mn-ea"/>
                <a:cs typeface="+mn-cs"/>
              </a:rPr>
              <a:t>API to help developers find events associated with Wikipedia entities. Begin with a Wikipedia entity, and receive a list of related events organized by time.</a:t>
            </a:r>
          </a:p>
          <a:p>
            <a:pPr lvl="0"/>
            <a:r>
              <a:rPr lang="en-US" sz="1200" b="1" kern="1200" dirty="0">
                <a:solidFill>
                  <a:schemeClr val="tx1"/>
                </a:solidFill>
                <a:effectLst/>
                <a:latin typeface="+mn-lt"/>
                <a:ea typeface="+mn-ea"/>
                <a:cs typeface="+mn-cs"/>
              </a:rPr>
              <a:t>Project Johannesburg: </a:t>
            </a:r>
            <a:r>
              <a:rPr lang="en-US" sz="1200" kern="1200" dirty="0">
                <a:solidFill>
                  <a:schemeClr val="tx1"/>
                </a:solidFill>
                <a:effectLst/>
                <a:latin typeface="+mn-lt"/>
                <a:ea typeface="+mn-ea"/>
                <a:cs typeface="+mn-cs"/>
              </a:rPr>
              <a:t>API to calculate route logistics for with deeper location intelligence to account for specific enterprise requirements. IE: weight, height length, hazardous materials, etc.</a:t>
            </a:r>
          </a:p>
          <a:p>
            <a:pPr lvl="0"/>
            <a:r>
              <a:rPr lang="en-US" sz="1200" b="1" kern="1200" dirty="0">
                <a:solidFill>
                  <a:schemeClr val="tx1"/>
                </a:solidFill>
                <a:effectLst/>
                <a:latin typeface="+mn-lt"/>
                <a:ea typeface="+mn-ea"/>
                <a:cs typeface="+mn-cs"/>
              </a:rPr>
              <a:t>Project Nanjing: </a:t>
            </a:r>
            <a:r>
              <a:rPr lang="en-US" sz="1200" kern="1200" dirty="0">
                <a:solidFill>
                  <a:schemeClr val="tx1"/>
                </a:solidFill>
                <a:effectLst/>
                <a:latin typeface="+mn-lt"/>
                <a:ea typeface="+mn-ea"/>
                <a:cs typeface="+mn-cs"/>
              </a:rPr>
              <a:t>API to calculate isochrones - time and distance-based recommendations for enterprise route optimization.</a:t>
            </a:r>
          </a:p>
          <a:p>
            <a:pPr lvl="0"/>
            <a:r>
              <a:rPr lang="en-US" sz="1200" b="1" kern="1200" dirty="0">
                <a:solidFill>
                  <a:schemeClr val="tx1"/>
                </a:solidFill>
                <a:effectLst/>
                <a:latin typeface="+mn-lt"/>
                <a:ea typeface="+mn-ea"/>
                <a:cs typeface="+mn-cs"/>
              </a:rPr>
              <a:t>Project Abu Dhabi: </a:t>
            </a:r>
            <a:r>
              <a:rPr lang="en-US" sz="1200" kern="1200" dirty="0">
                <a:solidFill>
                  <a:schemeClr val="tx1"/>
                </a:solidFill>
                <a:effectLst/>
                <a:latin typeface="+mn-lt"/>
                <a:ea typeface="+mn-ea"/>
                <a:cs typeface="+mn-cs"/>
              </a:rPr>
              <a:t>API to create distance matrices, enabling you to calculate a histogram of travel times, and serve as stepping stone for enterprise route optimization.</a:t>
            </a:r>
          </a:p>
          <a:p>
            <a:r>
              <a:rPr lang="en-US" sz="1200" b="1" kern="1200" dirty="0">
                <a:solidFill>
                  <a:schemeClr val="tx1"/>
                </a:solidFill>
                <a:effectLst/>
                <a:latin typeface="+mn-lt"/>
                <a:ea typeface="+mn-ea"/>
                <a:cs typeface="+mn-cs"/>
              </a:rPr>
              <a:t>Project Wollongong: </a:t>
            </a:r>
            <a:r>
              <a:rPr lang="en-US" sz="1200" kern="1200" dirty="0">
                <a:solidFill>
                  <a:schemeClr val="tx1"/>
                </a:solidFill>
                <a:effectLst/>
                <a:latin typeface="+mn-lt"/>
                <a:ea typeface="+mn-ea"/>
                <a:cs typeface="+mn-cs"/>
              </a:rPr>
              <a:t>API to help ‘score’ the attractiveness of a location, based on how many of a particular amenity are within a specific distance. Ex: restaurants, parks, transit stops.</a:t>
            </a:r>
            <a:r>
              <a:rPr lang="en-US" sz="1200" kern="1200" dirty="0">
                <a:solidFill>
                  <a:schemeClr val="tx1"/>
                </a:solidFill>
                <a:effectLst/>
                <a:latin typeface="Segoe UI Light" pitchFamily="34" charset="0"/>
                <a:ea typeface="+mn-ea"/>
                <a:cs typeface="+mn-cs"/>
              </a:rPr>
              <a:t> </a:t>
            </a:r>
            <a:endParaRPr lang="en-US" dirty="0">
              <a:effectLst/>
            </a:endParaRPr>
          </a:p>
          <a:p>
            <a:r>
              <a:rPr lang="en-US" dirty="0">
                <a:effectLst/>
              </a:rPr>
              <a:t>With Cognitive Services, developers can easily</a:t>
            </a:r>
            <a:r>
              <a:rPr lang="en-US" sz="1200" kern="1200" dirty="0">
                <a:solidFill>
                  <a:schemeClr val="tx1"/>
                </a:solidFill>
                <a:effectLst/>
                <a:latin typeface="Segoe UI Light" pitchFamily="34" charset="0"/>
                <a:ea typeface="+mn-ea"/>
                <a:cs typeface="+mn-cs"/>
              </a:rPr>
              <a:t> add intelligent features – such as emotion and sentiment </a:t>
            </a:r>
            <a:r>
              <a:rPr lang="en-US" dirty="0">
                <a:effectLst/>
              </a:rPr>
              <a:t>detection, vision and speech recognition, knowledge, search and language understanding – into their applications. The collection will continuously improve, adding new APIs and updating existing ones.</a:t>
            </a:r>
          </a:p>
          <a:p>
            <a:endParaRPr lang="en-US" b="1" dirty="0">
              <a:effectLst/>
            </a:endParaRPr>
          </a:p>
          <a:p>
            <a:r>
              <a:rPr lang="en-US" b="1" dirty="0">
                <a:effectLst/>
              </a:rPr>
              <a:t>Cognitive Services includes:</a:t>
            </a:r>
          </a:p>
          <a:p>
            <a:r>
              <a:rPr lang="en-US" dirty="0">
                <a:effectLst/>
              </a:rPr>
              <a:t>&lt;click&gt;</a:t>
            </a:r>
          </a:p>
          <a:p>
            <a:endParaRPr lang="en-US" b="1" dirty="0">
              <a:effectLst/>
            </a:endParaRPr>
          </a:p>
          <a:p>
            <a:pPr lvl="0"/>
            <a:r>
              <a:rPr lang="en-US" dirty="0">
                <a:effectLst/>
              </a:rPr>
              <a:t>Vision: From faces to feelings, allow apps to understand images and video</a:t>
            </a:r>
          </a:p>
          <a:p>
            <a:pPr lvl="0"/>
            <a:r>
              <a:rPr lang="en-US" dirty="0">
                <a:effectLst/>
              </a:rPr>
              <a:t>&lt;click&gt;</a:t>
            </a:r>
          </a:p>
          <a:p>
            <a:pPr lvl="0"/>
            <a:endParaRPr lang="en-US" dirty="0">
              <a:effectLst/>
            </a:endParaRPr>
          </a:p>
          <a:p>
            <a:pPr lvl="0"/>
            <a:r>
              <a:rPr lang="en-US" dirty="0">
                <a:effectLst/>
              </a:rPr>
              <a:t>Speech: Hear and speak to users by filtering noise, identifying speakers, and understanding intent</a:t>
            </a:r>
          </a:p>
          <a:p>
            <a:pPr lvl="0"/>
            <a:r>
              <a:rPr lang="en-US" dirty="0">
                <a:effectLst/>
              </a:rPr>
              <a:t>&lt;click&gt;</a:t>
            </a:r>
          </a:p>
          <a:p>
            <a:pPr lvl="0"/>
            <a:endParaRPr lang="en-US" dirty="0">
              <a:effectLst/>
            </a:endParaRPr>
          </a:p>
          <a:p>
            <a:pPr lvl="0"/>
            <a:r>
              <a:rPr lang="en-US" dirty="0">
                <a:effectLst/>
              </a:rPr>
              <a:t>Language: Process text and learn how to recognize what users want</a:t>
            </a:r>
          </a:p>
          <a:p>
            <a:pPr lvl="0"/>
            <a:r>
              <a:rPr lang="en-US" dirty="0">
                <a:effectLst/>
              </a:rPr>
              <a:t>&lt;click&gt;</a:t>
            </a:r>
          </a:p>
          <a:p>
            <a:pPr lvl="0"/>
            <a:endParaRPr lang="en-US" dirty="0">
              <a:effectLst/>
            </a:endParaRPr>
          </a:p>
          <a:p>
            <a:pPr lvl="0"/>
            <a:r>
              <a:rPr lang="en-US" dirty="0">
                <a:effectLst/>
              </a:rPr>
              <a:t>Knowledge: Tap into rich knowledge amassed from the web, academia, or your own data</a:t>
            </a:r>
          </a:p>
          <a:p>
            <a:pPr lvl="0"/>
            <a:r>
              <a:rPr lang="en-US" dirty="0">
                <a:effectLst/>
              </a:rPr>
              <a:t>&lt;click&gt;</a:t>
            </a:r>
          </a:p>
          <a:p>
            <a:pPr lvl="0"/>
            <a:endParaRPr lang="en-US" dirty="0">
              <a:effectLst/>
            </a:endParaRPr>
          </a:p>
          <a:p>
            <a:pPr lvl="0"/>
            <a:r>
              <a:rPr lang="en-US" dirty="0">
                <a:effectLst/>
              </a:rPr>
              <a:t>Search: Access billions of web pages, images, videos, and news with the power of Bing APIs</a:t>
            </a:r>
          </a:p>
          <a:p>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Why choose these APIs?</a:t>
            </a:r>
            <a:r>
              <a:rPr lang="en-US" sz="1200" b="1" baseline="0" dirty="0"/>
              <a:t> </a:t>
            </a:r>
            <a:r>
              <a:rPr lang="en-US" sz="1200" baseline="0" dirty="0"/>
              <a:t>They </a:t>
            </a:r>
            <a:r>
              <a:rPr lang="en-US" sz="1200" dirty="0"/>
              <a:t>work, and it’s eas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lt;click&gt;</a:t>
            </a:r>
          </a:p>
          <a:p>
            <a:endParaRPr lang="en-US" sz="1200" dirty="0"/>
          </a:p>
          <a:p>
            <a:r>
              <a:rPr lang="en-US" sz="1200" b="1" dirty="0"/>
              <a:t>Easy:</a:t>
            </a:r>
            <a:r>
              <a:rPr lang="en-US" sz="1200" b="0" dirty="0"/>
              <a:t> T</a:t>
            </a:r>
            <a:r>
              <a:rPr lang="en-US" sz="1200" dirty="0"/>
              <a:t>he APIs are easy to implement because of the simple REST calls. There’s a common way to implement, and you can get started with all of them for free simply by going to one place, one website, www.microsoft.com/cognitive. </a:t>
            </a:r>
          </a:p>
          <a:p>
            <a:endParaRPr lang="en-US" sz="1200" dirty="0"/>
          </a:p>
          <a:p>
            <a:r>
              <a:rPr lang="en-US" sz="1200" b="1" dirty="0"/>
              <a:t>Flexible:</a:t>
            </a:r>
            <a:r>
              <a:rPr lang="en-US" sz="1200" b="0" dirty="0"/>
              <a:t> </a:t>
            </a:r>
            <a:r>
              <a:rPr lang="en-US" sz="1200" dirty="0"/>
              <a:t>We’ve got a breadth of intelligence and knowledge APIs so developers will be able to find what intelligence feature they need.</a:t>
            </a:r>
            <a:r>
              <a:rPr lang="en-US" sz="1200" baseline="0" dirty="0"/>
              <a:t> A</a:t>
            </a:r>
            <a:r>
              <a:rPr lang="en-US" sz="1200" dirty="0"/>
              <a:t>nd, importantly, they all work on whatever language, framework, or platform developers choose. So, developers can integrate into their apps—iOS, Android, Windows—using their own tools they know and love.</a:t>
            </a:r>
          </a:p>
          <a:p>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Tested:</a:t>
            </a:r>
            <a:r>
              <a:rPr lang="en-US" sz="1200" b="1" baseline="0" dirty="0"/>
              <a:t> </a:t>
            </a:r>
            <a:r>
              <a:rPr lang="en-US" sz="1200" b="0" dirty="0"/>
              <a:t>Tap into </a:t>
            </a:r>
            <a:r>
              <a:rPr lang="en-US" sz="1200" dirty="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1200" baseline="0" dirty="0"/>
              <a:t> and Skype</a:t>
            </a:r>
            <a:r>
              <a:rPr lang="en-US" sz="1200" dirty="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pPr lvl="0"/>
            <a:endParaRPr lang="en-US" dirty="0">
              <a:effectLst/>
            </a:endParaRPr>
          </a:p>
          <a:p>
            <a:pPr lvl="0"/>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r>
              <a:rPr lang="en-US" b="1" baseline="0" dirty="0"/>
              <a:t>Transition:</a:t>
            </a:r>
            <a:r>
              <a:rPr lang="en-US" baseline="0" dirty="0"/>
              <a:t> </a:t>
            </a:r>
            <a:r>
              <a:rPr lang="en-US" b="1" baseline="0" dirty="0"/>
              <a:t>When it comes to real-world applications for Cognitive Services, the sky is the limit! Let’s look at some examples. </a:t>
            </a:r>
          </a:p>
          <a:p>
            <a:r>
              <a:rPr lang="en-US" b="1" baseline="0" dirty="0"/>
              <a:t>&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8950746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gnitive services span Vision, Speech, Language, Knowledge, and Search. Combining many of these services together can either improve user interaction models, or provide fun and engaging user experience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ur examples here shine some light on how some of these APIs work in real-world situation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lang="en-US" sz="1200" b="1" dirty="0"/>
              <a:t>Vision</a:t>
            </a:r>
          </a:p>
          <a:p>
            <a:pPr marL="171450" indent="-171450">
              <a:buFont typeface="Arial" panose="020B0604020202020204" pitchFamily="34" charset="0"/>
              <a:buChar char="•"/>
            </a:pPr>
            <a:r>
              <a:rPr lang="en-US" sz="1100" dirty="0"/>
              <a:t>The </a:t>
            </a:r>
            <a:r>
              <a:rPr lang="en-US" sz="1100" b="1" dirty="0"/>
              <a:t>Computer Vision</a:t>
            </a:r>
            <a:r>
              <a:rPr lang="en-US" sz="1100" dirty="0"/>
              <a:t> API </a:t>
            </a:r>
            <a:r>
              <a:rPr lang="en-US" sz="1100" dirty="0">
                <a:effectLst/>
              </a:rPr>
              <a:t>is</a:t>
            </a:r>
            <a:r>
              <a:rPr lang="en-US" sz="1100" baseline="0" dirty="0">
                <a:effectLst/>
              </a:rPr>
              <a:t> able to e</a:t>
            </a:r>
            <a:r>
              <a:rPr lang="en-US" sz="1100" dirty="0">
                <a:effectLst/>
              </a:rPr>
              <a:t>xtract rich information from images to categorize and process visual data</a:t>
            </a:r>
            <a:r>
              <a:rPr lang="en-US" sz="1100" baseline="0" dirty="0">
                <a:effectLst/>
              </a:rPr>
              <a:t> </a:t>
            </a:r>
            <a:r>
              <a:rPr lang="en-US" sz="1100" dirty="0">
                <a:effectLst/>
              </a:rPr>
              <a:t>and protect your users from unwanted content. Here,</a:t>
            </a:r>
            <a:r>
              <a:rPr lang="en-US" sz="1100" baseline="0" dirty="0">
                <a:effectLst/>
              </a:rPr>
              <a:t> the API is able to tell us what the photo contains, indicate the most common colors, and lets us know that the content would not be considered inappropriate for users.</a:t>
            </a:r>
            <a:endParaRPr lang="en-US" sz="1100" dirty="0"/>
          </a:p>
          <a:p>
            <a:endParaRPr lang="en-US" sz="1200" dirty="0"/>
          </a:p>
          <a:p>
            <a:r>
              <a:rPr lang="en-US" sz="1200" b="1" dirty="0"/>
              <a:t>Speech</a:t>
            </a:r>
          </a:p>
          <a:p>
            <a:pPr marL="171450" indent="-171450">
              <a:buFont typeface="Arial" panose="020B0604020202020204" pitchFamily="34" charset="0"/>
              <a:buChar char="•"/>
            </a:pPr>
            <a:r>
              <a:rPr lang="en-US" sz="1100" dirty="0"/>
              <a:t>The </a:t>
            </a:r>
            <a:r>
              <a:rPr lang="en-US" sz="1100" b="1" dirty="0"/>
              <a:t>Bing Speech API </a:t>
            </a:r>
            <a:r>
              <a:rPr lang="en-US" sz="1100" dirty="0">
                <a:effectLst/>
              </a:rPr>
              <a:t>is</a:t>
            </a:r>
            <a:r>
              <a:rPr lang="en-US" sz="1100" baseline="0" dirty="0">
                <a:effectLst/>
              </a:rPr>
              <a:t> capable of c</a:t>
            </a:r>
            <a:r>
              <a:rPr lang="en-US" sz="1100" dirty="0">
                <a:effectLst/>
              </a:rPr>
              <a:t>onverting audio to text, understanding intent, and converting text back to speech for natural responsiveness. This</a:t>
            </a:r>
            <a:r>
              <a:rPr lang="en-US" sz="1100" baseline="0" dirty="0">
                <a:effectLst/>
              </a:rPr>
              <a:t> case shows us that the user has asked for directions verbally, the intent has been extracted, and a map with directions provided.</a:t>
            </a:r>
            <a:endParaRPr lang="en-US" sz="1100" dirty="0"/>
          </a:p>
          <a:p>
            <a:pPr marL="0" indent="0">
              <a:buFontTx/>
              <a:buNone/>
            </a:pPr>
            <a:endParaRPr lang="en-US" sz="1100" dirty="0"/>
          </a:p>
          <a:p>
            <a:pPr marL="0" indent="0">
              <a:buFontTx/>
              <a:buNone/>
            </a:pPr>
            <a:r>
              <a:rPr lang="en-US" sz="1200" b="1" dirty="0"/>
              <a:t>Language:</a:t>
            </a:r>
          </a:p>
          <a:p>
            <a:pPr marL="171450" indent="-171450">
              <a:buFont typeface="Arial" panose="020B0604020202020204" pitchFamily="34" charset="0"/>
              <a:buChar char="•"/>
            </a:pPr>
            <a:r>
              <a:rPr lang="en-US" sz="1100" dirty="0"/>
              <a:t>Language Understanding Intelligent Service,</a:t>
            </a:r>
            <a:r>
              <a:rPr lang="en-US" sz="1100" baseline="0" dirty="0"/>
              <a:t> known as </a:t>
            </a:r>
            <a:r>
              <a:rPr lang="en-US" sz="1100" dirty="0"/>
              <a:t>LUIS,</a:t>
            </a:r>
            <a:r>
              <a:rPr lang="en-US" sz="1100" baseline="0" dirty="0"/>
              <a:t> can be trained to u</a:t>
            </a:r>
            <a:r>
              <a:rPr lang="en-US" sz="1100" dirty="0">
                <a:effectLst/>
              </a:rPr>
              <a:t>nderstand user language contextually, so your app communicates with people in the way they speak. The example we see</a:t>
            </a:r>
            <a:r>
              <a:rPr lang="en-US" sz="1100" baseline="0" dirty="0">
                <a:effectLst/>
              </a:rPr>
              <a:t> here demonstrates Language Understanding’s ability to </a:t>
            </a:r>
            <a:r>
              <a:rPr lang="en-US" sz="1100" dirty="0">
                <a:effectLst/>
              </a:rPr>
              <a:t>understand what a person wants, and to find the pieces of information that are relevant to the</a:t>
            </a:r>
            <a:r>
              <a:rPr lang="en-US" sz="1100" baseline="0" dirty="0">
                <a:effectLst/>
              </a:rPr>
              <a:t> user’s</a:t>
            </a:r>
            <a:r>
              <a:rPr lang="en-US" sz="1100" dirty="0">
                <a:effectLst/>
              </a:rPr>
              <a:t> intent.</a:t>
            </a:r>
            <a:endParaRPr lang="en-US" sz="1100" dirty="0"/>
          </a:p>
          <a:p>
            <a:endParaRPr lang="en-US" sz="1200" dirty="0"/>
          </a:p>
          <a:p>
            <a:r>
              <a:rPr lang="en-US" sz="1200" b="1" dirty="0"/>
              <a:t>Knowledge</a:t>
            </a:r>
          </a:p>
          <a:p>
            <a:pPr marL="171450" indent="-171450">
              <a:buFont typeface="Arial" panose="020B0604020202020204" pitchFamily="34" charset="0"/>
              <a:buChar char="•"/>
            </a:pPr>
            <a:r>
              <a:rPr lang="en-US" sz="1100" dirty="0"/>
              <a:t>Knowledge Exploration Service</a:t>
            </a:r>
            <a:r>
              <a:rPr lang="en-US" sz="1100" baseline="0" dirty="0"/>
              <a:t> a</a:t>
            </a:r>
            <a:r>
              <a:rPr lang="en-US" sz="1100" dirty="0"/>
              <a:t>dds interactive search over structured data to reduce user effort and increase</a:t>
            </a:r>
            <a:r>
              <a:rPr lang="en-US" sz="1100" baseline="0" dirty="0"/>
              <a:t> efficiency. Our Knowledge Exploration API example here demonstrates the usefulness of this API for answering questions posed in natural language in an interactive experience.</a:t>
            </a:r>
            <a:endParaRPr lang="en-US" sz="1100" dirty="0"/>
          </a:p>
          <a:p>
            <a:endParaRPr lang="en-US" sz="1400" b="1" dirty="0"/>
          </a:p>
          <a:p>
            <a:r>
              <a:rPr lang="en-US" sz="1400" b="1" dirty="0"/>
              <a:t>Search</a:t>
            </a:r>
          </a:p>
          <a:p>
            <a:pPr marL="171450" indent="-171450">
              <a:buFont typeface="Arial" panose="020B0604020202020204" pitchFamily="34" charset="0"/>
              <a:buChar char="•"/>
            </a:pPr>
            <a:r>
              <a:rPr lang="en-US" sz="1100" dirty="0"/>
              <a:t>Bing Image Search API</a:t>
            </a:r>
            <a:r>
              <a:rPr lang="en-US" sz="1100" baseline="0" dirty="0"/>
              <a:t> enables you to </a:t>
            </a:r>
            <a:r>
              <a:rPr lang="en-US" sz="1100" baseline="0" dirty="0">
                <a:effectLst/>
              </a:rPr>
              <a:t>a</a:t>
            </a:r>
            <a:r>
              <a:rPr lang="en-US" sz="1100" dirty="0">
                <a:effectLst/>
              </a:rPr>
              <a:t>dd a variety of image search options to your app or website, from trending images to detailed insights. Users</a:t>
            </a:r>
            <a:r>
              <a:rPr lang="en-US" sz="1100" baseline="0" dirty="0">
                <a:effectLst/>
              </a:rPr>
              <a:t> can do a simple search, and this API scours the web for </a:t>
            </a:r>
            <a:r>
              <a:rPr lang="en-US" sz="1100" dirty="0">
                <a:effectLst/>
              </a:rPr>
              <a:t>thumbnails, full image URLs, publishing website info, image metadata, and more</a:t>
            </a:r>
            <a:r>
              <a:rPr lang="en-US" sz="1100" baseline="0" dirty="0">
                <a:effectLst/>
              </a:rPr>
              <a:t> before returning results.</a:t>
            </a:r>
          </a:p>
          <a:p>
            <a:pPr marL="171450" indent="-171450">
              <a:buFont typeface="Arial" panose="020B0604020202020204" pitchFamily="34" charset="0"/>
              <a:buChar char="•"/>
            </a:pPr>
            <a:endParaRPr lang="en-US" sz="1100" baseline="0" dirty="0">
              <a:effectLst/>
            </a:endParaRPr>
          </a:p>
          <a:p>
            <a:pPr marL="0" indent="0">
              <a:buFont typeface="Arial" panose="020B0604020202020204" pitchFamily="34" charset="0"/>
              <a:buNone/>
            </a:pPr>
            <a:r>
              <a:rPr lang="en-US" sz="1100" b="1" baseline="0" dirty="0">
                <a:effectLst/>
              </a:rPr>
              <a:t>Transition:</a:t>
            </a:r>
            <a:r>
              <a:rPr lang="en-US" sz="1100" b="0" baseline="0" dirty="0">
                <a:effectLst/>
              </a:rPr>
              <a:t> </a:t>
            </a:r>
            <a:r>
              <a:rPr lang="en-US" sz="1100" b="1" baseline="0" dirty="0">
                <a:effectLst/>
              </a:rPr>
              <a:t>These APIs are available as stand-alone solutions, or as part of the Cortana Intelligence Suite. They can also be used in conjunction with the Microsoft Bot Framework. </a:t>
            </a:r>
          </a:p>
          <a:p>
            <a:pPr marL="0" indent="0">
              <a:buFont typeface="Arial" panose="020B0604020202020204" pitchFamily="34" charset="0"/>
              <a:buNone/>
            </a:pPr>
            <a:r>
              <a:rPr lang="en-US" sz="1100" b="1" baseline="0" dirty="0">
                <a:effectLst/>
              </a:rPr>
              <a:t>&lt;click&gt;</a:t>
            </a:r>
            <a:endParaRPr lang="en-US" sz="1100" b="1" dirty="0"/>
          </a:p>
          <a:p>
            <a:pPr marL="0" indent="0">
              <a:buFontTx/>
              <a:buNone/>
            </a:pPr>
            <a:endParaRPr lang="en-US" sz="11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2020 10:16 A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3282879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While there are a lot of things in Cognitive Services, there are a few things that make a lot of sense for Power BI.  Here we’re just calling out the services that are visible to Power BI Dataflows.   We’ll focus the rest of the conversation on these services.</a:t>
            </a:r>
            <a:endParaRPr lang="en-US" b="1"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8367024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baseline="0" dirty="0"/>
              <a:t>Vision</a:t>
            </a:r>
          </a:p>
          <a:p>
            <a:pPr marL="0" lvl="0" indent="0">
              <a:buFont typeface="Arial" panose="020B0604020202020204" pitchFamily="34" charset="0"/>
              <a:buNone/>
            </a:pPr>
            <a:endParaRPr lang="en-US" b="1" baseline="0" dirty="0"/>
          </a:p>
          <a:p>
            <a:pPr marL="0" lvl="0" indent="0">
              <a:buFont typeface="Arial" panose="020B0604020202020204" pitchFamily="34" charset="0"/>
              <a:buNone/>
            </a:pPr>
            <a:r>
              <a:rPr lang="en-US" b="1" baseline="0" dirty="0"/>
              <a:t>Computer Vision API</a:t>
            </a:r>
            <a:r>
              <a:rPr lang="en-US" b="0" baseline="0" dirty="0"/>
              <a:t>: </a:t>
            </a:r>
            <a:r>
              <a:rPr lang="en-US" sz="1400" b="0" dirty="0"/>
              <a:t>Extract rich information from images to categorize and process visual data – and machine-assisted moderation of images to help curate your services.</a:t>
            </a:r>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Face API: </a:t>
            </a:r>
            <a:r>
              <a:rPr lang="en-US" sz="1400" b="0" i="0" u="none" strike="noStrike" kern="1200" dirty="0">
                <a:solidFill>
                  <a:schemeClr val="tx1"/>
                </a:solidFill>
                <a:effectLst/>
                <a:latin typeface="Segoe UI Light" pitchFamily="34" charset="0"/>
                <a:ea typeface="+mn-ea"/>
                <a:cs typeface="+mn-cs"/>
              </a:rPr>
              <a:t>Some potential uses for this technology include facial login, photo tagging, and home monitoring.</a:t>
            </a:r>
            <a:r>
              <a:rPr lang="en-US" sz="1400" b="0" i="0" u="none" strike="noStrike" kern="1200" baseline="0" dirty="0">
                <a:solidFill>
                  <a:schemeClr val="tx1"/>
                </a:solidFill>
                <a:effectLst/>
                <a:latin typeface="Segoe UI Light" pitchFamily="34" charset="0"/>
                <a:ea typeface="+mn-ea"/>
                <a:cs typeface="+mn-cs"/>
              </a:rPr>
              <a:t>  Or attribute detection to know age, gender, facial hair, etc.</a:t>
            </a: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400" b="0" i="0" u="none" strike="noStrike" kern="1200" baseline="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1" i="0" u="none" strike="noStrike" kern="1200" baseline="0" dirty="0">
                <a:solidFill>
                  <a:schemeClr val="tx1"/>
                </a:solidFill>
                <a:effectLst/>
                <a:latin typeface="Segoe UI Light" pitchFamily="34" charset="0"/>
                <a:ea typeface="+mn-ea"/>
                <a:cs typeface="+mn-cs"/>
              </a:rPr>
              <a:t>Emotion API: </a:t>
            </a:r>
            <a:r>
              <a:rPr lang="en-US" sz="1400" b="0" i="0" u="none" strike="noStrike" kern="1200" baseline="0" dirty="0">
                <a:solidFill>
                  <a:schemeClr val="tx1"/>
                </a:solidFill>
                <a:effectLst/>
                <a:latin typeface="Segoe UI Light" pitchFamily="34" charset="0"/>
                <a:ea typeface="+mn-ea"/>
                <a:cs typeface="+mn-cs"/>
              </a:rPr>
              <a:t>Build an app that responds to moods. Using facial expressions, this cloud-based API can detect happiness, neutrality, sadness, contempt, anger, disgust, fear, and surprise. The AI understands these emotions based on universal facial expressions, and it functions cross-culturally, so your app will work around the world. Some use cases would be an advertising company wants to test user response to an ad, a tv studio wants to track responses to a pilot. </a:t>
            </a:r>
          </a:p>
          <a:p>
            <a:pPr marL="0" lvl="0" indent="0">
              <a:buFont typeface="Arial" panose="020B0604020202020204" pitchFamily="34" charset="0"/>
              <a:buNone/>
            </a:pPr>
            <a:endParaRPr lang="en-US" baseline="0" dirty="0"/>
          </a:p>
          <a:p>
            <a:pPr marL="0" lvl="0" indent="0">
              <a:buFont typeface="Arial" panose="020B0604020202020204" pitchFamily="34" charset="0"/>
              <a:buNone/>
            </a:pPr>
            <a:endParaRPr lang="en-US" b="1" baseline="0" dirty="0"/>
          </a:p>
          <a:p>
            <a:r>
              <a:rPr lang="en-US" b="1" baseline="0" dirty="0"/>
              <a:t>Content Moderator:</a:t>
            </a:r>
            <a:r>
              <a:rPr lang="en-US" baseline="0" dirty="0"/>
              <a:t>  </a:t>
            </a:r>
            <a:r>
              <a:rPr lang="en-US" sz="2400" kern="1200" dirty="0">
                <a:solidFill>
                  <a:schemeClr val="tx1"/>
                </a:solidFill>
                <a:effectLst/>
                <a:latin typeface="+mn-lt"/>
                <a:ea typeface="+mn-ea"/>
                <a:cs typeface="+mn-cs"/>
              </a:rPr>
              <a:t>Image moderation - Enhance your ability to detect potentially offensive or unwanted images through machine-learning based classifiers, custom blacklists, and optical character recognition (OCR).</a:t>
            </a:r>
          </a:p>
          <a:p>
            <a:r>
              <a:rPr lang="en-US" sz="2400" kern="1200" dirty="0">
                <a:solidFill>
                  <a:schemeClr val="tx1"/>
                </a:solidFill>
                <a:effectLst/>
                <a:latin typeface="+mn-lt"/>
                <a:ea typeface="+mn-ea"/>
                <a:cs typeface="+mn-cs"/>
              </a:rPr>
              <a:t>Text moderation - Helps you detect potential profanity in more than 100 languages and match text against your custom lists automatically. Content Moderator also checks for possible personally identifiable information (PII).</a:t>
            </a:r>
          </a:p>
          <a:p>
            <a:r>
              <a:rPr lang="en-US" sz="2400" kern="1200" dirty="0">
                <a:solidFill>
                  <a:schemeClr val="tx1"/>
                </a:solidFill>
                <a:effectLst/>
                <a:latin typeface="+mn-lt"/>
                <a:ea typeface="+mn-ea"/>
                <a:cs typeface="+mn-cs"/>
              </a:rPr>
              <a:t>Video moderation - Enable the scoring of possible adult content in videos. Video moderation is currently deployed in preview on Azure Media Services.</a:t>
            </a:r>
          </a:p>
          <a:p>
            <a:r>
              <a:rPr lang="en-US" sz="2400" kern="1200" dirty="0">
                <a:solidFill>
                  <a:schemeClr val="tx1"/>
                </a:solidFill>
                <a:effectLst/>
                <a:latin typeface="+mn-lt"/>
                <a:ea typeface="+mn-ea"/>
                <a:cs typeface="+mn-cs"/>
              </a:rPr>
              <a:t>Human review tool - Humans can effectively augment machine learning models in situations where the prediction confidence warrants assistance or when decisions must be tempered with a real world context. Enjoy visibility, flexibility and control with a human review tool that supervises the results of your algorithms.</a:t>
            </a:r>
            <a:endParaRPr lang="en-US"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Custom Vision Service:  </a:t>
            </a:r>
            <a:r>
              <a:rPr lang="en-US" dirty="0"/>
              <a:t>an easy-to-use, customizable web service that learns to recognize specific content in imagery, powered by state-of-the-art machine learning neural networks that become smarter with training. You can train it to recognize whatever you choose, whether that be animals, objects, or abstract symbols. This technology could easily apply to retail environments for machine-assisted product identification, or in digital space to automatically help sorting categories of pictures.</a:t>
            </a:r>
            <a:endParaRPr lang="en-US" b="1"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Video Indexer : </a:t>
            </a:r>
            <a:r>
              <a:rPr lang="en-US" dirty="0"/>
              <a:t>It helps you unlock insights from any video by indexing and enabling you to search spoken audio that is transcribed and translated, sentiment, faces that appeared and objects. With these insights, you can improve discoverability of videos in your applications or increase user engagement by embedding this capability in sites. All of these capabilities are available through a simple set of APIs, ready to use widgets and a management portal.</a:t>
            </a:r>
            <a:endParaRPr lang="en-US" b="1" baseline="0"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4/2020 10:1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498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baseline="0" dirty="0"/>
              <a:t>Vision</a:t>
            </a:r>
          </a:p>
          <a:p>
            <a:pPr marL="0" lvl="0" indent="0">
              <a:buFont typeface="Arial" panose="020B0604020202020204" pitchFamily="34" charset="0"/>
              <a:buNone/>
            </a:pPr>
            <a:endParaRPr lang="en-US" b="1" baseline="0" dirty="0"/>
          </a:p>
          <a:p>
            <a:pPr marL="0" lvl="0" indent="0">
              <a:buFont typeface="Arial" panose="020B0604020202020204" pitchFamily="34" charset="0"/>
              <a:buNone/>
            </a:pPr>
            <a:r>
              <a:rPr lang="en-US" b="1" baseline="0" dirty="0"/>
              <a:t>Computer Vision API</a:t>
            </a:r>
            <a:r>
              <a:rPr lang="en-US" b="0" baseline="0" dirty="0"/>
              <a:t>: </a:t>
            </a:r>
            <a:r>
              <a:rPr lang="en-US" sz="1400" b="0" dirty="0"/>
              <a:t>Extract rich information from images to categorize and process visual data – and machine-assisted moderation of images to help curate your services.</a:t>
            </a:r>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Face API: </a:t>
            </a:r>
            <a:r>
              <a:rPr lang="en-US" sz="1400" b="0" i="0" u="none" strike="noStrike" kern="1200" dirty="0">
                <a:solidFill>
                  <a:schemeClr val="tx1"/>
                </a:solidFill>
                <a:effectLst/>
                <a:latin typeface="Segoe UI Light" pitchFamily="34" charset="0"/>
                <a:ea typeface="+mn-ea"/>
                <a:cs typeface="+mn-cs"/>
              </a:rPr>
              <a:t>Some potential uses for this technology include facial login, photo tagging, and home monitoring.</a:t>
            </a:r>
            <a:r>
              <a:rPr lang="en-US" sz="1400" b="0" i="0" u="none" strike="noStrike" kern="1200" baseline="0" dirty="0">
                <a:solidFill>
                  <a:schemeClr val="tx1"/>
                </a:solidFill>
                <a:effectLst/>
                <a:latin typeface="Segoe UI Light" pitchFamily="34" charset="0"/>
                <a:ea typeface="+mn-ea"/>
                <a:cs typeface="+mn-cs"/>
              </a:rPr>
              <a:t>  Or attribute detection to know age, gender, facial hair, etc.</a:t>
            </a: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400" b="0" i="0" u="none" strike="noStrike" kern="1200" baseline="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1" i="0" u="none" strike="noStrike" kern="1200" baseline="0" dirty="0">
                <a:solidFill>
                  <a:schemeClr val="tx1"/>
                </a:solidFill>
                <a:effectLst/>
                <a:latin typeface="Segoe UI Light" pitchFamily="34" charset="0"/>
                <a:ea typeface="+mn-ea"/>
                <a:cs typeface="+mn-cs"/>
              </a:rPr>
              <a:t>Emotion API: </a:t>
            </a:r>
            <a:r>
              <a:rPr lang="en-US" sz="1400" b="0" i="0" u="none" strike="noStrike" kern="1200" baseline="0" dirty="0">
                <a:solidFill>
                  <a:schemeClr val="tx1"/>
                </a:solidFill>
                <a:effectLst/>
                <a:latin typeface="Segoe UI Light" pitchFamily="34" charset="0"/>
                <a:ea typeface="+mn-ea"/>
                <a:cs typeface="+mn-cs"/>
              </a:rPr>
              <a:t>Build an app that responds to moods. Using facial expressions, this cloud-based API can detect happiness, neutrality, sadness, contempt, anger, disgust, fear, and surprise. The AI understands these emotions based on universal facial expressions, and it functions cross-culturally, so your app will work around the world. Some use cases would be an advertising company wants to test user response to an ad, a tv studio wants to track responses to a pilot. </a:t>
            </a:r>
          </a:p>
          <a:p>
            <a:pPr marL="0" lvl="0" indent="0">
              <a:buFont typeface="Arial" panose="020B0604020202020204" pitchFamily="34" charset="0"/>
              <a:buNone/>
            </a:pPr>
            <a:endParaRPr lang="en-US" baseline="0" dirty="0"/>
          </a:p>
          <a:p>
            <a:pPr marL="0" lvl="0" indent="0">
              <a:buFont typeface="Arial" panose="020B0604020202020204" pitchFamily="34" charset="0"/>
              <a:buNone/>
            </a:pPr>
            <a:endParaRPr lang="en-US" b="1" baseline="0" dirty="0"/>
          </a:p>
          <a:p>
            <a:r>
              <a:rPr lang="en-US" b="1" baseline="0" dirty="0"/>
              <a:t>Content Moderator:</a:t>
            </a:r>
            <a:r>
              <a:rPr lang="en-US" baseline="0" dirty="0"/>
              <a:t>  </a:t>
            </a:r>
            <a:r>
              <a:rPr lang="en-US" sz="2400" kern="1200" dirty="0">
                <a:solidFill>
                  <a:schemeClr val="tx1"/>
                </a:solidFill>
                <a:effectLst/>
                <a:latin typeface="+mn-lt"/>
                <a:ea typeface="+mn-ea"/>
                <a:cs typeface="+mn-cs"/>
              </a:rPr>
              <a:t>Image moderation - Enhance your ability to detect potentially offensive or unwanted images through machine-learning based classifiers, custom blacklists, and optical character recognition (OCR).</a:t>
            </a:r>
          </a:p>
          <a:p>
            <a:r>
              <a:rPr lang="en-US" sz="2400" kern="1200" dirty="0">
                <a:solidFill>
                  <a:schemeClr val="tx1"/>
                </a:solidFill>
                <a:effectLst/>
                <a:latin typeface="+mn-lt"/>
                <a:ea typeface="+mn-ea"/>
                <a:cs typeface="+mn-cs"/>
              </a:rPr>
              <a:t>Text moderation - Helps you detect potential profanity in more than 100 languages and match text against your custom lists automatically. Content Moderator also checks for possible personally identifiable information (PII).</a:t>
            </a:r>
          </a:p>
          <a:p>
            <a:r>
              <a:rPr lang="en-US" sz="2400" kern="1200" dirty="0">
                <a:solidFill>
                  <a:schemeClr val="tx1"/>
                </a:solidFill>
                <a:effectLst/>
                <a:latin typeface="+mn-lt"/>
                <a:ea typeface="+mn-ea"/>
                <a:cs typeface="+mn-cs"/>
              </a:rPr>
              <a:t>Video moderation - Enable the scoring of possible adult content in videos. Video moderation is currently deployed in preview on Azure Media Services.</a:t>
            </a:r>
          </a:p>
          <a:p>
            <a:r>
              <a:rPr lang="en-US" sz="2400" kern="1200" dirty="0">
                <a:solidFill>
                  <a:schemeClr val="tx1"/>
                </a:solidFill>
                <a:effectLst/>
                <a:latin typeface="+mn-lt"/>
                <a:ea typeface="+mn-ea"/>
                <a:cs typeface="+mn-cs"/>
              </a:rPr>
              <a:t>Human review tool - Humans can effectively augment machine learning models in situations where the prediction confidence warrants assistance or when decisions must be tempered with a real world context. Enjoy visibility, flexibility and control with a human review tool that supervises the results of your algorithms.</a:t>
            </a:r>
            <a:endParaRPr lang="en-US"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Custom Vision Service:  </a:t>
            </a:r>
            <a:r>
              <a:rPr lang="en-US" dirty="0"/>
              <a:t>an easy-to-use, customizable web service that learns to recognize specific content in imagery, powered by state-of-the-art machine learning neural networks that become smarter with training. You can train it to recognize whatever you choose, whether that be animals, objects, or abstract symbols. This technology could easily apply to retail environments for machine-assisted product identification, or in digital space to automatically help sorting categories of pictures.</a:t>
            </a:r>
            <a:endParaRPr lang="en-US" b="1"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Video Indexer : </a:t>
            </a:r>
            <a:r>
              <a:rPr lang="en-US" dirty="0"/>
              <a:t>It helps you unlock insights from any video by indexing and enabling you to search spoken audio that is transcribed and translated, sentiment, faces that appeared and objects. With these insights, you can improve discoverability of videos in your applications or increase user engagement by embedding this capability in sites. All of these capabilities are available through a simple set of APIs, ready to use widgets and a management portal.</a:t>
            </a:r>
            <a:endParaRPr lang="en-US" b="1" baseline="0"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4/2020 10:1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32210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2"/>
          </a:xfrm>
          <a:prstGeom prst="rect">
            <a:avLst/>
          </a:prstGeom>
        </p:spPr>
      </p:pic>
      <p:sp>
        <p:nvSpPr>
          <p:cNvPr id="4" name="Rectangle 3"/>
          <p:cNvSpPr/>
          <p:nvPr userDrawn="1"/>
        </p:nvSpPr>
        <p:spPr bwMode="auto">
          <a:xfrm>
            <a:off x="1"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58762" y="2047309"/>
            <a:ext cx="11674476" cy="1772525"/>
          </a:xfrm>
          <a:noFill/>
        </p:spPr>
        <p:txBody>
          <a:bodyPr vert="horz" wrap="square" lIns="146304" tIns="91440" rIns="146304" bIns="0" rtlCol="0" anchor="b" anchorCtr="0">
            <a:noAutofit/>
          </a:bodyPr>
          <a:lstStyle>
            <a:lvl1pPr>
              <a:defRPr lang="en-US" sz="6470" spc="-98"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3829174"/>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6" cy="304828"/>
          </a:xfrm>
          <a:prstGeom prst="rect">
            <a:avLst/>
          </a:prstGeom>
        </p:spPr>
      </p:pic>
    </p:spTree>
    <p:extLst>
      <p:ext uri="{BB962C8B-B14F-4D97-AF65-F5344CB8AC3E}">
        <p14:creationId xmlns:p14="http://schemas.microsoft.com/office/powerpoint/2010/main" val="3207887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789843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50997442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17717487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124090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84269626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511251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573767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51272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764959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Custom Layout_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530606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6"/>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userDrawn="1"/>
        </p:nvGrpSpPr>
        <p:grpSpPr>
          <a:xfrm>
            <a:off x="458932" y="385643"/>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Title 1"/>
          <p:cNvSpPr>
            <a:spLocks noGrp="1"/>
          </p:cNvSpPr>
          <p:nvPr>
            <p:ph type="title" hasCustomPrompt="1"/>
          </p:nvPr>
        </p:nvSpPr>
        <p:spPr bwMode="auto">
          <a:xfrm>
            <a:off x="258762" y="3847152"/>
            <a:ext cx="11674476"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5629018"/>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2852425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Custom Layout_Blue">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7708407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Custom Layout_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3068480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189566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162721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13609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prstClr val="white"/>
                    </a:gs>
                    <a:gs pos="100000">
                      <a:prstClr val="white"/>
                    </a:gs>
                  </a:gsLst>
                  <a:lin ang="5400000" scaled="0"/>
                </a:gradFill>
                <a:effectLst/>
                <a:uLnTx/>
                <a:uFillTx/>
                <a:latin typeface="Segoe UI"/>
                <a:ea typeface="+mn-ea"/>
                <a:cs typeface="Segoe UI" pitchFamily="34" charset="0"/>
              </a:rPr>
              <a:t>© Copyright 2018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67385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070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90184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29486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5FF14-3152-4848-8568-D5119BD3615E}"/>
              </a:ext>
            </a:extLst>
          </p:cNvPr>
          <p:cNvPicPr>
            <a:picLocks noChangeAspect="1"/>
          </p:cNvPicPr>
          <p:nvPr userDrawn="1"/>
        </p:nvPicPr>
        <p:blipFill rotWithShape="1">
          <a:blip r:embed="rId2"/>
          <a:srcRect l="19509" r="5340" b="1209"/>
          <a:stretch/>
        </p:blipFill>
        <p:spPr>
          <a:xfrm>
            <a:off x="-7200" y="0"/>
            <a:ext cx="12199200" cy="6858000"/>
          </a:xfrm>
          <a:prstGeom prst="rect">
            <a:avLst/>
          </a:prstGeom>
        </p:spPr>
      </p:pic>
      <p:sp>
        <p:nvSpPr>
          <p:cNvPr id="4" name="Rectangle 3"/>
          <p:cNvSpPr/>
          <p:nvPr userDrawn="1"/>
        </p:nvSpPr>
        <p:spPr bwMode="auto">
          <a:xfrm>
            <a:off x="-12269" y="0"/>
            <a:ext cx="12204269" cy="6858000"/>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863804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1"/>
            <a:ext cx="12201885" cy="6857998"/>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0777846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612" spc="-96"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075"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89635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334351" y="1669"/>
            <a:ext cx="6856633" cy="6855234"/>
          </a:xfrm>
          <a:prstGeom prst="rect">
            <a:avLst/>
          </a:prstGeom>
        </p:spPr>
      </p:pic>
    </p:spTree>
    <p:extLst>
      <p:ext uri="{BB962C8B-B14F-4D97-AF65-F5344CB8AC3E}">
        <p14:creationId xmlns:p14="http://schemas.microsoft.com/office/powerpoint/2010/main" val="15698944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9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1"/>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8"/>
            <a:ext cx="2569766" cy="561290"/>
          </a:xfrm>
          <a:prstGeom prst="rect">
            <a:avLst/>
          </a:prstGeom>
          <a:noFill/>
        </p:spPr>
        <p:txBody>
          <a:bodyPr wrap="none" lIns="179285" tIns="143428" rIns="89642"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Segoe UI Semibold" panose="020B0702040204020203" pitchFamily="34" charset="0"/>
              </a:rPr>
              <a:t>Digital transformation</a:t>
            </a:r>
            <a:endPar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2588306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620311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8"/>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417507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85336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1893834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2836"/>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216805335"/>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0"/>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55862750"/>
      </p:ext>
    </p:extLst>
  </p:cSld>
  <p:clrMap bg1="lt1" tx1="dk1" bg2="lt2" tx2="dk2" accent1="accent1" accent2="accent2" accent3="accent3" accent4="accent4" accent5="accent5" accent6="accent6" hlink="hlink" folHlink="folHlink"/>
  <p:sldLayoutIdLst>
    <p:sldLayoutId id="2147484399" r:id="rId1"/>
    <p:sldLayoutId id="2147484400" r:id="rId2"/>
    <p:sldLayoutId id="2147484401" r:id="rId3"/>
    <p:sldLayoutId id="2147484402" r:id="rId4"/>
    <p:sldLayoutId id="2147484403" r:id="rId5"/>
    <p:sldLayoutId id="2147484404" r:id="rId6"/>
    <p:sldLayoutId id="2147484405" r:id="rId7"/>
    <p:sldLayoutId id="2147484406" r:id="rId8"/>
    <p:sldLayoutId id="2147484407" r:id="rId9"/>
    <p:sldLayoutId id="2147484408" r:id="rId10"/>
    <p:sldLayoutId id="2147484409" r:id="rId11"/>
    <p:sldLayoutId id="2147484410" r:id="rId12"/>
    <p:sldLayoutId id="2147484411"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6" r:id="rId27"/>
    <p:sldLayoutId id="2147484429" r:id="rId28"/>
    <p:sldLayoutId id="2147484430" r:id="rId29"/>
    <p:sldLayoutId id="2147484457" r:id="rId30"/>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3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68">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74">
          <p15:clr>
            <a:srgbClr val="C35EA4"/>
          </p15:clr>
        </p15:guide>
        <p15:guide id="17" pos="7402">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2.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43.gif"/><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22.xml"/><Relationship Id="rId4" Type="http://schemas.openxmlformats.org/officeDocument/2006/relationships/image" Target="../media/image45.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22.xml"/><Relationship Id="rId4" Type="http://schemas.openxmlformats.org/officeDocument/2006/relationships/image" Target="../media/image4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8.xml"/><Relationship Id="rId1" Type="http://schemas.openxmlformats.org/officeDocument/2006/relationships/slideLayout" Target="../slideLayouts/slideLayout27.xml"/><Relationship Id="rId5" Type="http://schemas.openxmlformats.org/officeDocument/2006/relationships/hyperlink" Target="http://microsoft.com/Cognitive" TargetMode="External"/><Relationship Id="rId4" Type="http://schemas.openxmlformats.org/officeDocument/2006/relationships/hyperlink" Target="https://docs.microsoft.com/en-us/azure/#pivot=products&amp;panel=cognitive"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9.jpg"/><Relationship Id="rId7" Type="http://schemas.openxmlformats.org/officeDocument/2006/relationships/image" Target="../media/image23.png"/><Relationship Id="rId12" Type="http://schemas.openxmlformats.org/officeDocument/2006/relationships/comments" Target="../comments/comment1.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22.png"/><Relationship Id="rId11" Type="http://schemas.openxmlformats.org/officeDocument/2006/relationships/image" Target="../media/image26.png"/><Relationship Id="rId5" Type="http://schemas.openxmlformats.org/officeDocument/2006/relationships/image" Target="../media/image21.png"/><Relationship Id="rId10" Type="http://schemas.openxmlformats.org/officeDocument/2006/relationships/image" Target="../media/image25.png"/><Relationship Id="rId4" Type="http://schemas.openxmlformats.org/officeDocument/2006/relationships/image" Target="../media/image20.png"/><Relationship Id="rId9" Type="http://schemas.openxmlformats.org/officeDocument/2006/relationships/image" Target="../media/image24.png"/></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3.jpe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slideLayout" Target="../slideLayouts/slideLayout12.xml"/><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2.emf"/><Relationship Id="rId11" Type="http://schemas.openxmlformats.org/officeDocument/2006/relationships/image" Target="../media/image37.png"/><Relationship Id="rId5" Type="http://schemas.openxmlformats.org/officeDocument/2006/relationships/oleObject" Target="../embeddings/oleObject1.bin"/><Relationship Id="rId10" Type="http://schemas.openxmlformats.org/officeDocument/2006/relationships/image" Target="../media/image36.png"/><Relationship Id="rId4" Type="http://schemas.openxmlformats.org/officeDocument/2006/relationships/notesSlide" Target="../notesSlides/notesSlide6.xml"/><Relationship Id="rId9" Type="http://schemas.openxmlformats.org/officeDocument/2006/relationships/image" Target="../media/image35.png"/><Relationship Id="rId1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41.gif"/><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oft </a:t>
            </a:r>
            <a:br>
              <a:rPr lang="en-US"/>
            </a:br>
            <a:r>
              <a:rPr lang="en-US"/>
              <a:t>Cognitive Services</a:t>
            </a:r>
          </a:p>
        </p:txBody>
      </p:sp>
      <p:sp>
        <p:nvSpPr>
          <p:cNvPr id="8" name="Text Placeholder 7"/>
          <p:cNvSpPr>
            <a:spLocks noGrp="1"/>
          </p:cNvSpPr>
          <p:nvPr>
            <p:ph type="body" sz="quarter" idx="14"/>
          </p:nvPr>
        </p:nvSpPr>
        <p:spPr>
          <a:xfrm>
            <a:off x="269302" y="5412002"/>
            <a:ext cx="4840694" cy="717148"/>
          </a:xfrm>
        </p:spPr>
        <p:txBody>
          <a:bodyPr/>
          <a:lstStyle/>
          <a:p>
            <a:r>
              <a:rPr lang="en-US" sz="1961"/>
              <a:t>&lt;Speaker Name&gt;</a:t>
            </a:r>
          </a:p>
          <a:p>
            <a:r>
              <a:rPr lang="en-US" sz="1961"/>
              <a:t>&lt;Date&gt;</a:t>
            </a:r>
          </a:p>
        </p:txBody>
      </p:sp>
      <p:sp>
        <p:nvSpPr>
          <p:cNvPr id="4" name="Text Placeholder 7"/>
          <p:cNvSpPr txBox="1">
            <a:spLocks/>
          </p:cNvSpPr>
          <p:nvPr/>
        </p:nvSpPr>
        <p:spPr bwMode="auto">
          <a:xfrm>
            <a:off x="269302" y="4026618"/>
            <a:ext cx="5003786" cy="717148"/>
          </a:xfrm>
          <a:prstGeom prst="rect">
            <a:avLst/>
          </a:prstGeom>
        </p:spPr>
        <p:txBody>
          <a:bodyPr vert="horz" wrap="square" lIns="161356" tIns="107571" rIns="161356" bIns="107571" rtlCol="0">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lang="en-US" sz="3137" kern="1200" spc="0" baseline="0" dirty="0">
                <a:gradFill>
                  <a:gsLst>
                    <a:gs pos="91000">
                      <a:schemeClr val="tx1"/>
                    </a:gs>
                    <a:gs pos="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3075"/>
              <a:t>Amplifying human ingenuity </a:t>
            </a:r>
          </a:p>
        </p:txBody>
      </p:sp>
    </p:spTree>
    <p:extLst>
      <p:ext uri="{BB962C8B-B14F-4D97-AF65-F5344CB8AC3E}">
        <p14:creationId xmlns:p14="http://schemas.microsoft.com/office/powerpoint/2010/main" val="2659554221"/>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Title 2">
            <a:extLst>
              <a:ext uri="{FF2B5EF4-FFF2-40B4-BE49-F238E27FC236}">
                <a16:creationId xmlns:a16="http://schemas.microsoft.com/office/drawing/2014/main" id="{EDEDDB05-9AF3-452C-B604-56CE8E2508C4}"/>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Speech</a:t>
            </a:r>
          </a:p>
        </p:txBody>
      </p:sp>
      <p:sp>
        <p:nvSpPr>
          <p:cNvPr id="45" name="Rectangle 44"/>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0" name="Group 19">
            <a:extLst>
              <a:ext uri="{FF2B5EF4-FFF2-40B4-BE49-F238E27FC236}">
                <a16:creationId xmlns:a16="http://schemas.microsoft.com/office/drawing/2014/main" id="{95E17712-AEF8-4108-A409-4C1D746214F1}"/>
              </a:ext>
            </a:extLst>
          </p:cNvPr>
          <p:cNvGrpSpPr/>
          <p:nvPr/>
        </p:nvGrpSpPr>
        <p:grpSpPr>
          <a:xfrm>
            <a:off x="864" y="254613"/>
            <a:ext cx="1188839" cy="956984"/>
            <a:chOff x="864" y="254613"/>
            <a:chExt cx="1188839" cy="956984"/>
          </a:xfrm>
        </p:grpSpPr>
        <p:sp>
          <p:nvSpPr>
            <p:cNvPr id="34" name="Rectangle 33"/>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0" name="Group 39">
              <a:extLst>
                <a:ext uri="{FF2B5EF4-FFF2-40B4-BE49-F238E27FC236}">
                  <a16:creationId xmlns:a16="http://schemas.microsoft.com/office/drawing/2014/main" id="{16084DAB-62DA-4BAC-8404-0E1191913BA1}"/>
                </a:ext>
              </a:extLst>
            </p:cNvPr>
            <p:cNvGrpSpPr>
              <a:grpSpLocks noChangeAspect="1"/>
            </p:cNvGrpSpPr>
            <p:nvPr/>
          </p:nvGrpSpPr>
          <p:grpSpPr bwMode="auto">
            <a:xfrm>
              <a:off x="280465" y="471791"/>
              <a:ext cx="624195" cy="534165"/>
              <a:chOff x="1" y="3"/>
              <a:chExt cx="2697" cy="2308"/>
            </a:xfrm>
            <a:solidFill>
              <a:schemeClr val="bg2"/>
            </a:solidFill>
          </p:grpSpPr>
          <p:sp>
            <p:nvSpPr>
              <p:cNvPr id="41" name="Freeform 5">
                <a:extLst>
                  <a:ext uri="{FF2B5EF4-FFF2-40B4-BE49-F238E27FC236}">
                    <a16:creationId xmlns:a16="http://schemas.microsoft.com/office/drawing/2014/main" id="{6D54119A-34B3-49E0-BB21-5B94D4C69C8F}"/>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0CF0CDB0-3B79-4AA4-9C3D-C4F07E2C4094}"/>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 name="Rectangle 1">
            <a:extLst>
              <a:ext uri="{FF2B5EF4-FFF2-40B4-BE49-F238E27FC236}">
                <a16:creationId xmlns:a16="http://schemas.microsoft.com/office/drawing/2014/main" id="{BCC03AEF-FF89-49D1-856C-8E36DB5417F6}"/>
              </a:ext>
            </a:extLst>
          </p:cNvPr>
          <p:cNvSpPr/>
          <p:nvPr/>
        </p:nvSpPr>
        <p:spPr>
          <a:xfrm>
            <a:off x="367583" y="1659285"/>
            <a:ext cx="7355656" cy="1569660"/>
          </a:xfrm>
          <a:prstGeom prst="rect">
            <a:avLst/>
          </a:prstGeom>
        </p:spPr>
        <p:txBody>
          <a:bodyPr wrap="square">
            <a:spAutoFit/>
          </a:bodyPr>
          <a:lstStyle/>
          <a:p>
            <a:r>
              <a:rPr lang="en-US" sz="3200" dirty="0">
                <a:gradFill>
                  <a:gsLst>
                    <a:gs pos="2326">
                      <a:schemeClr val="tx1"/>
                    </a:gs>
                    <a:gs pos="30000">
                      <a:schemeClr val="tx1"/>
                    </a:gs>
                  </a:gsLst>
                  <a:lin ang="5400000" scaled="1"/>
                </a:gradFill>
                <a:latin typeface="+mj-lt"/>
              </a:rPr>
              <a:t>Convert spoken audio into text, use voice for verification, or add speaker recognition to your app</a:t>
            </a:r>
          </a:p>
        </p:txBody>
      </p:sp>
      <p:pic>
        <p:nvPicPr>
          <p:cNvPr id="12" name="2018-06-01_12-09-24">
            <a:hlinkClick r:id="" action="ppaction://media"/>
            <a:extLst>
              <a:ext uri="{FF2B5EF4-FFF2-40B4-BE49-F238E27FC236}">
                <a16:creationId xmlns:a16="http://schemas.microsoft.com/office/drawing/2014/main" id="{9BCE79D7-D230-4E7C-A46E-286C990047AD}"/>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87619" y="3724276"/>
            <a:ext cx="9020175" cy="1943100"/>
          </a:xfrm>
          <a:prstGeom prst="rect">
            <a:avLst/>
          </a:prstGeom>
        </p:spPr>
      </p:pic>
    </p:spTree>
    <p:extLst>
      <p:ext uri="{BB962C8B-B14F-4D97-AF65-F5344CB8AC3E}">
        <p14:creationId xmlns:p14="http://schemas.microsoft.com/office/powerpoint/2010/main" val="2550963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63" presetClass="path" presetSubtype="0" decel="100000" fill="hold" nodeType="withEffect">
                                  <p:stCondLst>
                                    <p:cond delay="0"/>
                                  </p:stCondLst>
                                  <p:childTnLst>
                                    <p:animMotion origin="layout" path="M -0.02617 -7.40741E-7 L -3.125E-6 -7.40741E-7 " pathEditMode="relative" rAng="0" ptsTypes="AA">
                                      <p:cBhvr>
                                        <p:cTn id="9" dur="500" fill="hold"/>
                                        <p:tgtEl>
                                          <p:spTgt spid="20"/>
                                        </p:tgtEl>
                                        <p:attrNameLst>
                                          <p:attrName>ppt_x</p:attrName>
                                          <p:attrName>ppt_y</p:attrName>
                                        </p:attrNameLst>
                                      </p:cBhvr>
                                      <p:rCtr x="1302" y="0"/>
                                    </p:animMotion>
                                  </p:childTnLst>
                                </p:cTn>
                              </p:par>
                              <p:par>
                                <p:cTn id="10" presetID="10" presetClass="entr" presetSubtype="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63" presetClass="path" presetSubtype="0" decel="100000" fill="hold" grpId="1" nodeType="withEffect">
                                  <p:stCondLst>
                                    <p:cond delay="0"/>
                                  </p:stCondLst>
                                  <p:childTnLst>
                                    <p:animMotion origin="layout" path="M -0.02617 -7.40741E-7 L -3.125E-6 -7.40741E-7 " pathEditMode="relative" rAng="0" ptsTypes="AA">
                                      <p:cBhvr>
                                        <p:cTn id="14" dur="500" fill="hold"/>
                                        <p:tgtEl>
                                          <p:spTgt spid="26"/>
                                        </p:tgtEl>
                                        <p:attrNameLst>
                                          <p:attrName>ppt_x</p:attrName>
                                          <p:attrName>ppt_y</p:attrName>
                                        </p:attrNameLst>
                                      </p:cBhvr>
                                      <p:rCtr x="1302" y="0"/>
                                    </p:animMotion>
                                  </p:childTnLst>
                                </p:cTn>
                              </p:par>
                              <p:par>
                                <p:cTn id="15" presetID="10"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par>
                                <p:cTn id="18" presetID="63" presetClass="path" presetSubtype="0" decel="100000" fill="hold" grpId="1" nodeType="withEffect">
                                  <p:stCondLst>
                                    <p:cond delay="0"/>
                                  </p:stCondLst>
                                  <p:childTnLst>
                                    <p:animMotion origin="layout" path="M -0.02617 0 L -8.33333E-7 0 " pathEditMode="relative" rAng="0" ptsTypes="AA">
                                      <p:cBhvr>
                                        <p:cTn id="19" dur="500" fill="hold"/>
                                        <p:tgtEl>
                                          <p:spTgt spid="2"/>
                                        </p:tgtEl>
                                        <p:attrNameLst>
                                          <p:attrName>ppt_x</p:attrName>
                                          <p:attrName>ppt_y</p:attrName>
                                        </p:attrNameLst>
                                      </p:cBhvr>
                                      <p:rCtr x="1302" y="0"/>
                                    </p:animMotion>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childTnLst>
                          </p:cTn>
                        </p:par>
                        <p:par>
                          <p:cTn id="24" fill="hold">
                            <p:stCondLst>
                              <p:cond delay="1000"/>
                            </p:stCondLst>
                            <p:childTnLst>
                              <p:par>
                                <p:cTn id="25" presetID="1" presetClass="mediacall" presetSubtype="0" fill="hold" nodeType="afterEffect">
                                  <p:stCondLst>
                                    <p:cond delay="0"/>
                                  </p:stCondLst>
                                  <p:childTnLst>
                                    <p:cmd type="call" cmd="playFrom(0.0)">
                                      <p:cBhvr>
                                        <p:cTn id="26" dur="16443"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27" fill="hold" display="0">
                  <p:stCondLst>
                    <p:cond delay="indefinite"/>
                  </p:stCondLst>
                </p:cTn>
                <p:tgtEl>
                  <p:spTgt spid="12"/>
                </p:tgtEl>
              </p:cMediaNode>
            </p:video>
          </p:childTnLst>
        </p:cTn>
      </p:par>
    </p:tnLst>
    <p:bldLst>
      <p:bldP spid="26" grpId="0" animBg="1"/>
      <p:bldP spid="26" grpId="1" animBg="1"/>
      <p:bldP spid="2" grpId="0"/>
      <p:bldP spid="2" grpId="1"/>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0" name="Group 23">
            <a:extLst>
              <a:ext uri="{FF2B5EF4-FFF2-40B4-BE49-F238E27FC236}">
                <a16:creationId xmlns:a16="http://schemas.microsoft.com/office/drawing/2014/main" id="{62E76C16-264A-4E7E-969A-BFD617776ECD}"/>
              </a:ext>
            </a:extLst>
          </p:cNvPr>
          <p:cNvGrpSpPr>
            <a:grpSpLocks noChangeAspect="1"/>
          </p:cNvGrpSpPr>
          <p:nvPr/>
        </p:nvGrpSpPr>
        <p:grpSpPr bwMode="auto">
          <a:xfrm>
            <a:off x="5793665" y="1816412"/>
            <a:ext cx="604670" cy="606207"/>
            <a:chOff x="0" y="2"/>
            <a:chExt cx="2361" cy="2367"/>
          </a:xfrm>
          <a:solidFill>
            <a:srgbClr val="047CDA"/>
          </a:solidFill>
        </p:grpSpPr>
        <p:sp>
          <p:nvSpPr>
            <p:cNvPr id="44" name="Freeform 24">
              <a:extLst>
                <a:ext uri="{FF2B5EF4-FFF2-40B4-BE49-F238E27FC236}">
                  <a16:creationId xmlns:a16="http://schemas.microsoft.com/office/drawing/2014/main" id="{76068B46-4C1B-4C2B-A37C-81392921CC9E}"/>
                </a:ext>
              </a:extLst>
            </p:cNvPr>
            <p:cNvSpPr>
              <a:spLocks noEditPoints="1"/>
            </p:cNvSpPr>
            <p:nvPr/>
          </p:nvSpPr>
          <p:spPr bwMode="auto">
            <a:xfrm>
              <a:off x="10" y="1188"/>
              <a:ext cx="851" cy="1168"/>
            </a:xfrm>
            <a:custGeom>
              <a:avLst/>
              <a:gdLst>
                <a:gd name="T0" fmla="*/ 224 w 409"/>
                <a:gd name="T1" fmla="*/ 74 h 561"/>
                <a:gd name="T2" fmla="*/ 73 w 409"/>
                <a:gd name="T3" fmla="*/ 137 h 561"/>
                <a:gd name="T4" fmla="*/ 46 w 409"/>
                <a:gd name="T5" fmla="*/ 160 h 561"/>
                <a:gd name="T6" fmla="*/ 46 w 409"/>
                <a:gd name="T7" fmla="*/ 62 h 561"/>
                <a:gd name="T8" fmla="*/ 52 w 409"/>
                <a:gd name="T9" fmla="*/ 57 h 561"/>
                <a:gd name="T10" fmla="*/ 133 w 409"/>
                <a:gd name="T11" fmla="*/ 17 h 561"/>
                <a:gd name="T12" fmla="*/ 229 w 409"/>
                <a:gd name="T13" fmla="*/ 0 h 561"/>
                <a:gd name="T14" fmla="*/ 362 w 409"/>
                <a:gd name="T15" fmla="*/ 54 h 561"/>
                <a:gd name="T16" fmla="*/ 409 w 409"/>
                <a:gd name="T17" fmla="*/ 205 h 561"/>
                <a:gd name="T18" fmla="*/ 409 w 409"/>
                <a:gd name="T19" fmla="*/ 549 h 561"/>
                <a:gd name="T20" fmla="*/ 330 w 409"/>
                <a:gd name="T21" fmla="*/ 549 h 561"/>
                <a:gd name="T22" fmla="*/ 330 w 409"/>
                <a:gd name="T23" fmla="*/ 485 h 561"/>
                <a:gd name="T24" fmla="*/ 284 w 409"/>
                <a:gd name="T25" fmla="*/ 527 h 561"/>
                <a:gd name="T26" fmla="*/ 172 w 409"/>
                <a:gd name="T27" fmla="*/ 561 h 561"/>
                <a:gd name="T28" fmla="*/ 47 w 409"/>
                <a:gd name="T29" fmla="*/ 516 h 561"/>
                <a:gd name="T30" fmla="*/ 0 w 409"/>
                <a:gd name="T31" fmla="*/ 402 h 561"/>
                <a:gd name="T32" fmla="*/ 189 w 409"/>
                <a:gd name="T33" fmla="*/ 227 h 561"/>
                <a:gd name="T34" fmla="*/ 330 w 409"/>
                <a:gd name="T35" fmla="*/ 206 h 561"/>
                <a:gd name="T36" fmla="*/ 224 w 409"/>
                <a:gd name="T37" fmla="*/ 74 h 561"/>
                <a:gd name="T38" fmla="*/ 210 w 409"/>
                <a:gd name="T39" fmla="*/ 298 h 561"/>
                <a:gd name="T40" fmla="*/ 106 w 409"/>
                <a:gd name="T41" fmla="*/ 331 h 561"/>
                <a:gd name="T42" fmla="*/ 81 w 409"/>
                <a:gd name="T43" fmla="*/ 400 h 561"/>
                <a:gd name="T44" fmla="*/ 106 w 409"/>
                <a:gd name="T45" fmla="*/ 462 h 561"/>
                <a:gd name="T46" fmla="*/ 177 w 409"/>
                <a:gd name="T47" fmla="*/ 487 h 561"/>
                <a:gd name="T48" fmla="*/ 286 w 409"/>
                <a:gd name="T49" fmla="*/ 438 h 561"/>
                <a:gd name="T50" fmla="*/ 330 w 409"/>
                <a:gd name="T51" fmla="*/ 310 h 561"/>
                <a:gd name="T52" fmla="*/ 330 w 409"/>
                <a:gd name="T53" fmla="*/ 280 h 561"/>
                <a:gd name="T54" fmla="*/ 210 w 409"/>
                <a:gd name="T55" fmla="*/ 29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561">
                  <a:moveTo>
                    <a:pt x="224" y="74"/>
                  </a:moveTo>
                  <a:cubicBezTo>
                    <a:pt x="173" y="74"/>
                    <a:pt x="123" y="95"/>
                    <a:pt x="73" y="137"/>
                  </a:cubicBezTo>
                  <a:cubicBezTo>
                    <a:pt x="46" y="160"/>
                    <a:pt x="46" y="160"/>
                    <a:pt x="46" y="160"/>
                  </a:cubicBezTo>
                  <a:cubicBezTo>
                    <a:pt x="46" y="62"/>
                    <a:pt x="46" y="62"/>
                    <a:pt x="46" y="62"/>
                  </a:cubicBezTo>
                  <a:cubicBezTo>
                    <a:pt x="52" y="57"/>
                    <a:pt x="52" y="57"/>
                    <a:pt x="52" y="57"/>
                  </a:cubicBezTo>
                  <a:cubicBezTo>
                    <a:pt x="72" y="41"/>
                    <a:pt x="100" y="28"/>
                    <a:pt x="133" y="17"/>
                  </a:cubicBezTo>
                  <a:cubicBezTo>
                    <a:pt x="167" y="6"/>
                    <a:pt x="199" y="0"/>
                    <a:pt x="229" y="0"/>
                  </a:cubicBezTo>
                  <a:cubicBezTo>
                    <a:pt x="285" y="0"/>
                    <a:pt x="330" y="18"/>
                    <a:pt x="362" y="54"/>
                  </a:cubicBezTo>
                  <a:cubicBezTo>
                    <a:pt x="393" y="89"/>
                    <a:pt x="409" y="140"/>
                    <a:pt x="409" y="205"/>
                  </a:cubicBezTo>
                  <a:cubicBezTo>
                    <a:pt x="409" y="549"/>
                    <a:pt x="409" y="549"/>
                    <a:pt x="409" y="549"/>
                  </a:cubicBezTo>
                  <a:cubicBezTo>
                    <a:pt x="330" y="549"/>
                    <a:pt x="330" y="549"/>
                    <a:pt x="330" y="549"/>
                  </a:cubicBezTo>
                  <a:cubicBezTo>
                    <a:pt x="330" y="485"/>
                    <a:pt x="330" y="485"/>
                    <a:pt x="330" y="485"/>
                  </a:cubicBezTo>
                  <a:cubicBezTo>
                    <a:pt x="317" y="502"/>
                    <a:pt x="301" y="516"/>
                    <a:pt x="284" y="527"/>
                  </a:cubicBezTo>
                  <a:cubicBezTo>
                    <a:pt x="250" y="550"/>
                    <a:pt x="213" y="561"/>
                    <a:pt x="172" y="561"/>
                  </a:cubicBezTo>
                  <a:cubicBezTo>
                    <a:pt x="120" y="561"/>
                    <a:pt x="78" y="546"/>
                    <a:pt x="47" y="516"/>
                  </a:cubicBezTo>
                  <a:cubicBezTo>
                    <a:pt x="16" y="486"/>
                    <a:pt x="0" y="448"/>
                    <a:pt x="0" y="402"/>
                  </a:cubicBezTo>
                  <a:cubicBezTo>
                    <a:pt x="0" y="305"/>
                    <a:pt x="65" y="246"/>
                    <a:pt x="189" y="227"/>
                  </a:cubicBezTo>
                  <a:cubicBezTo>
                    <a:pt x="330" y="206"/>
                    <a:pt x="330" y="206"/>
                    <a:pt x="330" y="206"/>
                  </a:cubicBezTo>
                  <a:cubicBezTo>
                    <a:pt x="327" y="116"/>
                    <a:pt x="292" y="74"/>
                    <a:pt x="224" y="74"/>
                  </a:cubicBezTo>
                  <a:close/>
                  <a:moveTo>
                    <a:pt x="210" y="298"/>
                  </a:moveTo>
                  <a:cubicBezTo>
                    <a:pt x="160" y="305"/>
                    <a:pt x="125" y="316"/>
                    <a:pt x="106" y="331"/>
                  </a:cubicBezTo>
                  <a:cubicBezTo>
                    <a:pt x="90" y="344"/>
                    <a:pt x="81" y="367"/>
                    <a:pt x="81" y="400"/>
                  </a:cubicBezTo>
                  <a:cubicBezTo>
                    <a:pt x="81" y="426"/>
                    <a:pt x="89" y="446"/>
                    <a:pt x="106" y="462"/>
                  </a:cubicBezTo>
                  <a:cubicBezTo>
                    <a:pt x="122" y="478"/>
                    <a:pt x="146" y="487"/>
                    <a:pt x="177" y="487"/>
                  </a:cubicBezTo>
                  <a:cubicBezTo>
                    <a:pt x="221" y="487"/>
                    <a:pt x="257" y="471"/>
                    <a:pt x="286" y="438"/>
                  </a:cubicBezTo>
                  <a:cubicBezTo>
                    <a:pt x="316" y="406"/>
                    <a:pt x="330" y="363"/>
                    <a:pt x="330" y="310"/>
                  </a:cubicBezTo>
                  <a:cubicBezTo>
                    <a:pt x="330" y="280"/>
                    <a:pt x="330" y="280"/>
                    <a:pt x="330" y="280"/>
                  </a:cubicBezTo>
                  <a:lnTo>
                    <a:pt x="210"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5">
              <a:extLst>
                <a:ext uri="{FF2B5EF4-FFF2-40B4-BE49-F238E27FC236}">
                  <a16:creationId xmlns:a16="http://schemas.microsoft.com/office/drawing/2014/main" id="{013B1036-F9C0-4B35-8281-39A589F89684}"/>
                </a:ext>
              </a:extLst>
            </p:cNvPr>
            <p:cNvSpPr>
              <a:spLocks/>
            </p:cNvSpPr>
            <p:nvPr/>
          </p:nvSpPr>
          <p:spPr bwMode="auto">
            <a:xfrm>
              <a:off x="1265" y="1665"/>
              <a:ext cx="1048" cy="704"/>
            </a:xfrm>
            <a:custGeom>
              <a:avLst/>
              <a:gdLst>
                <a:gd name="T0" fmla="*/ 251 w 504"/>
                <a:gd name="T1" fmla="*/ 153 h 338"/>
                <a:gd name="T2" fmla="*/ 270 w 504"/>
                <a:gd name="T3" fmla="*/ 129 h 338"/>
                <a:gd name="T4" fmla="*/ 145 w 504"/>
                <a:gd name="T5" fmla="*/ 17 h 338"/>
                <a:gd name="T6" fmla="*/ 462 w 504"/>
                <a:gd name="T7" fmla="*/ 0 h 338"/>
                <a:gd name="T8" fmla="*/ 487 w 504"/>
                <a:gd name="T9" fmla="*/ 23 h 338"/>
                <a:gd name="T10" fmla="*/ 504 w 504"/>
                <a:gd name="T11" fmla="*/ 338 h 338"/>
                <a:gd name="T12" fmla="*/ 386 w 504"/>
                <a:gd name="T13" fmla="*/ 233 h 338"/>
                <a:gd name="T14" fmla="*/ 14 w 504"/>
                <a:gd name="T15" fmla="*/ 230 h 338"/>
                <a:gd name="T16" fmla="*/ 0 w 504"/>
                <a:gd name="T17" fmla="*/ 217 h 338"/>
                <a:gd name="T18" fmla="*/ 251 w 504"/>
                <a:gd name="T19"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1" y="153"/>
                  </a:moveTo>
                  <a:cubicBezTo>
                    <a:pt x="258" y="145"/>
                    <a:pt x="264" y="137"/>
                    <a:pt x="270" y="129"/>
                  </a:cubicBezTo>
                  <a:cubicBezTo>
                    <a:pt x="145" y="17"/>
                    <a:pt x="145" y="17"/>
                    <a:pt x="145" y="17"/>
                  </a:cubicBezTo>
                  <a:cubicBezTo>
                    <a:pt x="462" y="0"/>
                    <a:pt x="462" y="0"/>
                    <a:pt x="462" y="0"/>
                  </a:cubicBezTo>
                  <a:cubicBezTo>
                    <a:pt x="475" y="0"/>
                    <a:pt x="487" y="10"/>
                    <a:pt x="487" y="23"/>
                  </a:cubicBezTo>
                  <a:cubicBezTo>
                    <a:pt x="504" y="338"/>
                    <a:pt x="504" y="338"/>
                    <a:pt x="504" y="338"/>
                  </a:cubicBezTo>
                  <a:cubicBezTo>
                    <a:pt x="386" y="233"/>
                    <a:pt x="386" y="233"/>
                    <a:pt x="386" y="233"/>
                  </a:cubicBezTo>
                  <a:cubicBezTo>
                    <a:pt x="281" y="324"/>
                    <a:pt x="121" y="326"/>
                    <a:pt x="14" y="230"/>
                  </a:cubicBezTo>
                  <a:cubicBezTo>
                    <a:pt x="10" y="226"/>
                    <a:pt x="4" y="221"/>
                    <a:pt x="0" y="217"/>
                  </a:cubicBezTo>
                  <a:cubicBezTo>
                    <a:pt x="86" y="246"/>
                    <a:pt x="186" y="225"/>
                    <a:pt x="25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6">
              <a:extLst>
                <a:ext uri="{FF2B5EF4-FFF2-40B4-BE49-F238E27FC236}">
                  <a16:creationId xmlns:a16="http://schemas.microsoft.com/office/drawing/2014/main" id="{20C77EA3-ACAE-4F03-BDCF-C71445CEF5FF}"/>
                </a:ext>
              </a:extLst>
            </p:cNvPr>
            <p:cNvSpPr>
              <a:spLocks/>
            </p:cNvSpPr>
            <p:nvPr/>
          </p:nvSpPr>
          <p:spPr bwMode="auto">
            <a:xfrm>
              <a:off x="0" y="129"/>
              <a:ext cx="1048" cy="704"/>
            </a:xfrm>
            <a:custGeom>
              <a:avLst/>
              <a:gdLst>
                <a:gd name="T0" fmla="*/ 253 w 504"/>
                <a:gd name="T1" fmla="*/ 184 h 338"/>
                <a:gd name="T2" fmla="*/ 234 w 504"/>
                <a:gd name="T3" fmla="*/ 209 h 338"/>
                <a:gd name="T4" fmla="*/ 359 w 504"/>
                <a:gd name="T5" fmla="*/ 321 h 338"/>
                <a:gd name="T6" fmla="*/ 42 w 504"/>
                <a:gd name="T7" fmla="*/ 338 h 338"/>
                <a:gd name="T8" fmla="*/ 17 w 504"/>
                <a:gd name="T9" fmla="*/ 314 h 338"/>
                <a:gd name="T10" fmla="*/ 0 w 504"/>
                <a:gd name="T11" fmla="*/ 0 h 338"/>
                <a:gd name="T12" fmla="*/ 118 w 504"/>
                <a:gd name="T13" fmla="*/ 105 h 338"/>
                <a:gd name="T14" fmla="*/ 489 w 504"/>
                <a:gd name="T15" fmla="*/ 107 h 338"/>
                <a:gd name="T16" fmla="*/ 504 w 504"/>
                <a:gd name="T17" fmla="*/ 121 h 338"/>
                <a:gd name="T18" fmla="*/ 253 w 504"/>
                <a:gd name="T19" fmla="*/ 18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3" y="184"/>
                  </a:moveTo>
                  <a:cubicBezTo>
                    <a:pt x="245" y="192"/>
                    <a:pt x="239" y="201"/>
                    <a:pt x="234" y="209"/>
                  </a:cubicBezTo>
                  <a:cubicBezTo>
                    <a:pt x="359" y="321"/>
                    <a:pt x="359" y="321"/>
                    <a:pt x="359" y="321"/>
                  </a:cubicBezTo>
                  <a:cubicBezTo>
                    <a:pt x="42" y="338"/>
                    <a:pt x="42" y="338"/>
                    <a:pt x="42" y="338"/>
                  </a:cubicBezTo>
                  <a:cubicBezTo>
                    <a:pt x="28" y="338"/>
                    <a:pt x="17" y="328"/>
                    <a:pt x="17" y="314"/>
                  </a:cubicBezTo>
                  <a:cubicBezTo>
                    <a:pt x="0" y="0"/>
                    <a:pt x="0" y="0"/>
                    <a:pt x="0" y="0"/>
                  </a:cubicBezTo>
                  <a:cubicBezTo>
                    <a:pt x="118" y="105"/>
                    <a:pt x="118" y="105"/>
                    <a:pt x="118" y="105"/>
                  </a:cubicBezTo>
                  <a:cubicBezTo>
                    <a:pt x="223" y="13"/>
                    <a:pt x="382" y="11"/>
                    <a:pt x="489" y="107"/>
                  </a:cubicBezTo>
                  <a:cubicBezTo>
                    <a:pt x="494" y="112"/>
                    <a:pt x="499" y="116"/>
                    <a:pt x="504" y="121"/>
                  </a:cubicBezTo>
                  <a:cubicBezTo>
                    <a:pt x="417" y="91"/>
                    <a:pt x="317" y="113"/>
                    <a:pt x="253"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7">
              <a:extLst>
                <a:ext uri="{FF2B5EF4-FFF2-40B4-BE49-F238E27FC236}">
                  <a16:creationId xmlns:a16="http://schemas.microsoft.com/office/drawing/2014/main" id="{341AAF53-D013-44E2-8E03-6ABEB7DE9082}"/>
                </a:ext>
              </a:extLst>
            </p:cNvPr>
            <p:cNvSpPr>
              <a:spLocks noEditPoints="1"/>
            </p:cNvSpPr>
            <p:nvPr/>
          </p:nvSpPr>
          <p:spPr bwMode="auto">
            <a:xfrm>
              <a:off x="1194" y="2"/>
              <a:ext cx="1167" cy="1271"/>
            </a:xfrm>
            <a:custGeom>
              <a:avLst/>
              <a:gdLst>
                <a:gd name="T0" fmla="*/ 527 w 561"/>
                <a:gd name="T1" fmla="*/ 78 h 610"/>
                <a:gd name="T2" fmla="*/ 544 w 561"/>
                <a:gd name="T3" fmla="*/ 77 h 610"/>
                <a:gd name="T4" fmla="*/ 548 w 561"/>
                <a:gd name="T5" fmla="*/ 142 h 610"/>
                <a:gd name="T6" fmla="*/ 531 w 561"/>
                <a:gd name="T7" fmla="*/ 143 h 610"/>
                <a:gd name="T8" fmla="*/ 248 w 561"/>
                <a:gd name="T9" fmla="*/ 153 h 610"/>
                <a:gd name="T10" fmla="*/ 244 w 561"/>
                <a:gd name="T11" fmla="*/ 215 h 610"/>
                <a:gd name="T12" fmla="*/ 332 w 561"/>
                <a:gd name="T13" fmla="*/ 207 h 610"/>
                <a:gd name="T14" fmla="*/ 358 w 561"/>
                <a:gd name="T15" fmla="*/ 208 h 610"/>
                <a:gd name="T16" fmla="*/ 369 w 561"/>
                <a:gd name="T17" fmla="*/ 167 h 610"/>
                <a:gd name="T18" fmla="*/ 434 w 561"/>
                <a:gd name="T19" fmla="*/ 182 h 610"/>
                <a:gd name="T20" fmla="*/ 430 w 561"/>
                <a:gd name="T21" fmla="*/ 198 h 610"/>
                <a:gd name="T22" fmla="*/ 424 w 561"/>
                <a:gd name="T23" fmla="*/ 221 h 610"/>
                <a:gd name="T24" fmla="*/ 485 w 561"/>
                <a:gd name="T25" fmla="*/ 252 h 610"/>
                <a:gd name="T26" fmla="*/ 561 w 561"/>
                <a:gd name="T27" fmla="*/ 396 h 610"/>
                <a:gd name="T28" fmla="*/ 498 w 561"/>
                <a:gd name="T29" fmla="*/ 544 h 610"/>
                <a:gd name="T30" fmla="*/ 332 w 561"/>
                <a:gd name="T31" fmla="*/ 608 h 610"/>
                <a:gd name="T32" fmla="*/ 319 w 561"/>
                <a:gd name="T33" fmla="*/ 610 h 610"/>
                <a:gd name="T34" fmla="*/ 294 w 561"/>
                <a:gd name="T35" fmla="*/ 548 h 610"/>
                <a:gd name="T36" fmla="*/ 315 w 561"/>
                <a:gd name="T37" fmla="*/ 545 h 610"/>
                <a:gd name="T38" fmla="*/ 448 w 561"/>
                <a:gd name="T39" fmla="*/ 495 h 610"/>
                <a:gd name="T40" fmla="*/ 493 w 561"/>
                <a:gd name="T41" fmla="*/ 396 h 610"/>
                <a:gd name="T42" fmla="*/ 442 w 561"/>
                <a:gd name="T43" fmla="*/ 303 h 610"/>
                <a:gd name="T44" fmla="*/ 406 w 561"/>
                <a:gd name="T45" fmla="*/ 285 h 610"/>
                <a:gd name="T46" fmla="*/ 335 w 561"/>
                <a:gd name="T47" fmla="*/ 438 h 610"/>
                <a:gd name="T48" fmla="*/ 114 w 561"/>
                <a:gd name="T49" fmla="*/ 580 h 610"/>
                <a:gd name="T50" fmla="*/ 29 w 561"/>
                <a:gd name="T51" fmla="*/ 546 h 610"/>
                <a:gd name="T52" fmla="*/ 0 w 561"/>
                <a:gd name="T53" fmla="*/ 457 h 610"/>
                <a:gd name="T54" fmla="*/ 93 w 561"/>
                <a:gd name="T55" fmla="*/ 284 h 610"/>
                <a:gd name="T56" fmla="*/ 175 w 561"/>
                <a:gd name="T57" fmla="*/ 236 h 610"/>
                <a:gd name="T58" fmla="*/ 179 w 561"/>
                <a:gd name="T59" fmla="*/ 154 h 610"/>
                <a:gd name="T60" fmla="*/ 115 w 561"/>
                <a:gd name="T61" fmla="*/ 155 h 610"/>
                <a:gd name="T62" fmla="*/ 27 w 561"/>
                <a:gd name="T63" fmla="*/ 155 h 610"/>
                <a:gd name="T64" fmla="*/ 10 w 561"/>
                <a:gd name="T65" fmla="*/ 155 h 610"/>
                <a:gd name="T66" fmla="*/ 10 w 561"/>
                <a:gd name="T67" fmla="*/ 89 h 610"/>
                <a:gd name="T68" fmla="*/ 27 w 561"/>
                <a:gd name="T69" fmla="*/ 89 h 610"/>
                <a:gd name="T70" fmla="*/ 117 w 561"/>
                <a:gd name="T71" fmla="*/ 89 h 610"/>
                <a:gd name="T72" fmla="*/ 186 w 561"/>
                <a:gd name="T73" fmla="*/ 88 h 610"/>
                <a:gd name="T74" fmla="*/ 198 w 561"/>
                <a:gd name="T75" fmla="*/ 17 h 610"/>
                <a:gd name="T76" fmla="*/ 201 w 561"/>
                <a:gd name="T77" fmla="*/ 0 h 610"/>
                <a:gd name="T78" fmla="*/ 268 w 561"/>
                <a:gd name="T79" fmla="*/ 16 h 610"/>
                <a:gd name="T80" fmla="*/ 265 w 561"/>
                <a:gd name="T81" fmla="*/ 31 h 610"/>
                <a:gd name="T82" fmla="*/ 255 w 561"/>
                <a:gd name="T83" fmla="*/ 87 h 610"/>
                <a:gd name="T84" fmla="*/ 527 w 561"/>
                <a:gd name="T85" fmla="*/ 78 h 610"/>
                <a:gd name="T86" fmla="*/ 332 w 561"/>
                <a:gd name="T87" fmla="*/ 273 h 610"/>
                <a:gd name="T88" fmla="*/ 242 w 561"/>
                <a:gd name="T89" fmla="*/ 283 h 610"/>
                <a:gd name="T90" fmla="*/ 242 w 561"/>
                <a:gd name="T91" fmla="*/ 285 h 610"/>
                <a:gd name="T92" fmla="*/ 252 w 561"/>
                <a:gd name="T93" fmla="*/ 438 h 610"/>
                <a:gd name="T94" fmla="*/ 277 w 561"/>
                <a:gd name="T95" fmla="*/ 403 h 610"/>
                <a:gd name="T96" fmla="*/ 339 w 561"/>
                <a:gd name="T97" fmla="*/ 273 h 610"/>
                <a:gd name="T98" fmla="*/ 332 w 561"/>
                <a:gd name="T99" fmla="*/ 273 h 610"/>
                <a:gd name="T100" fmla="*/ 137 w 561"/>
                <a:gd name="T101" fmla="*/ 335 h 610"/>
                <a:gd name="T102" fmla="*/ 68 w 561"/>
                <a:gd name="T103" fmla="*/ 457 h 610"/>
                <a:gd name="T104" fmla="*/ 114 w 561"/>
                <a:gd name="T105" fmla="*/ 514 h 610"/>
                <a:gd name="T106" fmla="*/ 192 w 561"/>
                <a:gd name="T107" fmla="*/ 493 h 610"/>
                <a:gd name="T108" fmla="*/ 174 w 561"/>
                <a:gd name="T109" fmla="*/ 311 h 610"/>
                <a:gd name="T110" fmla="*/ 137 w 561"/>
                <a:gd name="T111" fmla="*/ 33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1" h="610">
                  <a:moveTo>
                    <a:pt x="527" y="78"/>
                  </a:moveTo>
                  <a:cubicBezTo>
                    <a:pt x="544" y="77"/>
                    <a:pt x="544" y="77"/>
                    <a:pt x="544" y="77"/>
                  </a:cubicBezTo>
                  <a:cubicBezTo>
                    <a:pt x="548" y="142"/>
                    <a:pt x="548" y="142"/>
                    <a:pt x="548" y="142"/>
                  </a:cubicBezTo>
                  <a:cubicBezTo>
                    <a:pt x="531" y="143"/>
                    <a:pt x="531" y="143"/>
                    <a:pt x="531" y="143"/>
                  </a:cubicBezTo>
                  <a:cubicBezTo>
                    <a:pt x="457" y="148"/>
                    <a:pt x="364" y="151"/>
                    <a:pt x="248" y="153"/>
                  </a:cubicBezTo>
                  <a:cubicBezTo>
                    <a:pt x="246" y="173"/>
                    <a:pt x="245" y="193"/>
                    <a:pt x="244" y="215"/>
                  </a:cubicBezTo>
                  <a:cubicBezTo>
                    <a:pt x="271" y="210"/>
                    <a:pt x="300" y="207"/>
                    <a:pt x="332" y="207"/>
                  </a:cubicBezTo>
                  <a:cubicBezTo>
                    <a:pt x="341" y="207"/>
                    <a:pt x="350" y="208"/>
                    <a:pt x="358" y="208"/>
                  </a:cubicBezTo>
                  <a:cubicBezTo>
                    <a:pt x="369" y="167"/>
                    <a:pt x="369" y="167"/>
                    <a:pt x="369" y="167"/>
                  </a:cubicBezTo>
                  <a:cubicBezTo>
                    <a:pt x="434" y="182"/>
                    <a:pt x="434" y="182"/>
                    <a:pt x="434" y="182"/>
                  </a:cubicBezTo>
                  <a:cubicBezTo>
                    <a:pt x="430" y="198"/>
                    <a:pt x="430" y="198"/>
                    <a:pt x="430" y="198"/>
                  </a:cubicBezTo>
                  <a:cubicBezTo>
                    <a:pt x="428" y="206"/>
                    <a:pt x="427" y="212"/>
                    <a:pt x="424" y="221"/>
                  </a:cubicBezTo>
                  <a:cubicBezTo>
                    <a:pt x="446" y="228"/>
                    <a:pt x="467" y="239"/>
                    <a:pt x="485" y="252"/>
                  </a:cubicBezTo>
                  <a:cubicBezTo>
                    <a:pt x="536" y="287"/>
                    <a:pt x="561" y="335"/>
                    <a:pt x="561" y="396"/>
                  </a:cubicBezTo>
                  <a:cubicBezTo>
                    <a:pt x="561" y="458"/>
                    <a:pt x="540" y="508"/>
                    <a:pt x="498" y="544"/>
                  </a:cubicBezTo>
                  <a:cubicBezTo>
                    <a:pt x="459" y="577"/>
                    <a:pt x="403" y="599"/>
                    <a:pt x="332" y="608"/>
                  </a:cubicBezTo>
                  <a:cubicBezTo>
                    <a:pt x="319" y="610"/>
                    <a:pt x="319" y="610"/>
                    <a:pt x="319" y="610"/>
                  </a:cubicBezTo>
                  <a:cubicBezTo>
                    <a:pt x="294" y="548"/>
                    <a:pt x="294" y="548"/>
                    <a:pt x="294" y="548"/>
                  </a:cubicBezTo>
                  <a:cubicBezTo>
                    <a:pt x="315" y="545"/>
                    <a:pt x="315" y="545"/>
                    <a:pt x="315" y="545"/>
                  </a:cubicBezTo>
                  <a:cubicBezTo>
                    <a:pt x="374" y="537"/>
                    <a:pt x="418" y="521"/>
                    <a:pt x="448" y="495"/>
                  </a:cubicBezTo>
                  <a:cubicBezTo>
                    <a:pt x="478" y="469"/>
                    <a:pt x="493" y="437"/>
                    <a:pt x="493" y="396"/>
                  </a:cubicBezTo>
                  <a:cubicBezTo>
                    <a:pt x="493" y="356"/>
                    <a:pt x="476" y="325"/>
                    <a:pt x="442" y="303"/>
                  </a:cubicBezTo>
                  <a:cubicBezTo>
                    <a:pt x="430" y="295"/>
                    <a:pt x="419" y="289"/>
                    <a:pt x="406" y="285"/>
                  </a:cubicBezTo>
                  <a:cubicBezTo>
                    <a:pt x="386" y="343"/>
                    <a:pt x="363" y="394"/>
                    <a:pt x="335" y="438"/>
                  </a:cubicBezTo>
                  <a:cubicBezTo>
                    <a:pt x="275" y="532"/>
                    <a:pt x="201" y="580"/>
                    <a:pt x="114" y="580"/>
                  </a:cubicBezTo>
                  <a:cubicBezTo>
                    <a:pt x="78" y="580"/>
                    <a:pt x="49" y="568"/>
                    <a:pt x="29" y="546"/>
                  </a:cubicBezTo>
                  <a:cubicBezTo>
                    <a:pt x="9" y="525"/>
                    <a:pt x="0" y="494"/>
                    <a:pt x="0" y="457"/>
                  </a:cubicBezTo>
                  <a:cubicBezTo>
                    <a:pt x="0" y="390"/>
                    <a:pt x="31" y="333"/>
                    <a:pt x="93" y="284"/>
                  </a:cubicBezTo>
                  <a:cubicBezTo>
                    <a:pt x="118" y="264"/>
                    <a:pt x="145" y="248"/>
                    <a:pt x="175" y="236"/>
                  </a:cubicBezTo>
                  <a:cubicBezTo>
                    <a:pt x="175" y="208"/>
                    <a:pt x="177" y="180"/>
                    <a:pt x="179" y="154"/>
                  </a:cubicBezTo>
                  <a:cubicBezTo>
                    <a:pt x="164" y="154"/>
                    <a:pt x="147" y="154"/>
                    <a:pt x="115" y="155"/>
                  </a:cubicBezTo>
                  <a:cubicBezTo>
                    <a:pt x="74" y="155"/>
                    <a:pt x="52" y="155"/>
                    <a:pt x="27" y="155"/>
                  </a:cubicBezTo>
                  <a:cubicBezTo>
                    <a:pt x="10" y="155"/>
                    <a:pt x="10" y="155"/>
                    <a:pt x="10" y="155"/>
                  </a:cubicBezTo>
                  <a:cubicBezTo>
                    <a:pt x="10" y="89"/>
                    <a:pt x="10" y="89"/>
                    <a:pt x="10" y="89"/>
                  </a:cubicBezTo>
                  <a:cubicBezTo>
                    <a:pt x="27" y="89"/>
                    <a:pt x="27" y="89"/>
                    <a:pt x="27" y="89"/>
                  </a:cubicBezTo>
                  <a:cubicBezTo>
                    <a:pt x="53" y="89"/>
                    <a:pt x="75" y="89"/>
                    <a:pt x="117" y="89"/>
                  </a:cubicBezTo>
                  <a:cubicBezTo>
                    <a:pt x="152" y="88"/>
                    <a:pt x="170" y="88"/>
                    <a:pt x="186" y="88"/>
                  </a:cubicBezTo>
                  <a:cubicBezTo>
                    <a:pt x="189" y="66"/>
                    <a:pt x="193" y="43"/>
                    <a:pt x="198" y="17"/>
                  </a:cubicBezTo>
                  <a:cubicBezTo>
                    <a:pt x="201" y="0"/>
                    <a:pt x="201" y="0"/>
                    <a:pt x="201" y="0"/>
                  </a:cubicBezTo>
                  <a:cubicBezTo>
                    <a:pt x="268" y="16"/>
                    <a:pt x="268" y="16"/>
                    <a:pt x="268" y="16"/>
                  </a:cubicBezTo>
                  <a:cubicBezTo>
                    <a:pt x="265" y="31"/>
                    <a:pt x="265" y="31"/>
                    <a:pt x="265" y="31"/>
                  </a:cubicBezTo>
                  <a:cubicBezTo>
                    <a:pt x="261" y="50"/>
                    <a:pt x="258" y="68"/>
                    <a:pt x="255" y="87"/>
                  </a:cubicBezTo>
                  <a:cubicBezTo>
                    <a:pt x="366" y="85"/>
                    <a:pt x="457" y="82"/>
                    <a:pt x="527" y="78"/>
                  </a:cubicBezTo>
                  <a:moveTo>
                    <a:pt x="332" y="273"/>
                  </a:moveTo>
                  <a:cubicBezTo>
                    <a:pt x="299" y="273"/>
                    <a:pt x="269" y="276"/>
                    <a:pt x="242" y="283"/>
                  </a:cubicBezTo>
                  <a:cubicBezTo>
                    <a:pt x="242" y="285"/>
                    <a:pt x="242" y="285"/>
                    <a:pt x="242" y="285"/>
                  </a:cubicBezTo>
                  <a:cubicBezTo>
                    <a:pt x="242" y="342"/>
                    <a:pt x="245" y="393"/>
                    <a:pt x="252" y="438"/>
                  </a:cubicBezTo>
                  <a:cubicBezTo>
                    <a:pt x="260" y="428"/>
                    <a:pt x="269" y="416"/>
                    <a:pt x="277" y="403"/>
                  </a:cubicBezTo>
                  <a:cubicBezTo>
                    <a:pt x="302" y="365"/>
                    <a:pt x="322" y="321"/>
                    <a:pt x="339" y="273"/>
                  </a:cubicBezTo>
                  <a:cubicBezTo>
                    <a:pt x="337" y="273"/>
                    <a:pt x="335" y="273"/>
                    <a:pt x="332" y="273"/>
                  </a:cubicBezTo>
                  <a:moveTo>
                    <a:pt x="137" y="335"/>
                  </a:moveTo>
                  <a:cubicBezTo>
                    <a:pt x="91" y="372"/>
                    <a:pt x="68" y="413"/>
                    <a:pt x="68" y="457"/>
                  </a:cubicBezTo>
                  <a:cubicBezTo>
                    <a:pt x="68" y="498"/>
                    <a:pt x="82" y="514"/>
                    <a:pt x="114" y="514"/>
                  </a:cubicBezTo>
                  <a:cubicBezTo>
                    <a:pt x="140" y="514"/>
                    <a:pt x="166" y="507"/>
                    <a:pt x="192" y="493"/>
                  </a:cubicBezTo>
                  <a:cubicBezTo>
                    <a:pt x="181" y="440"/>
                    <a:pt x="175" y="379"/>
                    <a:pt x="174" y="311"/>
                  </a:cubicBezTo>
                  <a:cubicBezTo>
                    <a:pt x="161" y="318"/>
                    <a:pt x="149" y="326"/>
                    <a:pt x="137" y="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 name="Title 2">
            <a:extLst>
              <a:ext uri="{FF2B5EF4-FFF2-40B4-BE49-F238E27FC236}">
                <a16:creationId xmlns:a16="http://schemas.microsoft.com/office/drawing/2014/main" id="{EDEDDB05-9AF3-452C-B604-56CE8E2508C4}"/>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Speech</a:t>
            </a:r>
          </a:p>
        </p:txBody>
      </p:sp>
      <p:sp>
        <p:nvSpPr>
          <p:cNvPr id="27" name="TextBox 26"/>
          <p:cNvSpPr txBox="1"/>
          <p:nvPr/>
        </p:nvSpPr>
        <p:spPr>
          <a:xfrm>
            <a:off x="1292911" y="2567390"/>
            <a:ext cx="309294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5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aker Recognition</a:t>
            </a:r>
          </a:p>
        </p:txBody>
      </p:sp>
      <p:sp>
        <p:nvSpPr>
          <p:cNvPr id="45" name="Rectangle 44"/>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9" name="Group 28">
            <a:extLst>
              <a:ext uri="{FF2B5EF4-FFF2-40B4-BE49-F238E27FC236}">
                <a16:creationId xmlns:a16="http://schemas.microsoft.com/office/drawing/2014/main" id="{6B6C0DF1-7074-4885-9345-271A1F66B18D}"/>
              </a:ext>
            </a:extLst>
          </p:cNvPr>
          <p:cNvGrpSpPr>
            <a:grpSpLocks noChangeAspect="1"/>
          </p:cNvGrpSpPr>
          <p:nvPr/>
        </p:nvGrpSpPr>
        <p:grpSpPr bwMode="auto">
          <a:xfrm>
            <a:off x="7394560" y="4095053"/>
            <a:ext cx="668857" cy="572385"/>
            <a:chOff x="1" y="3"/>
            <a:chExt cx="2697" cy="2308"/>
          </a:xfrm>
          <a:solidFill>
            <a:srgbClr val="047CDA"/>
          </a:solidFill>
        </p:grpSpPr>
        <p:sp>
          <p:nvSpPr>
            <p:cNvPr id="32" name="Freeform 5">
              <a:extLst>
                <a:ext uri="{FF2B5EF4-FFF2-40B4-BE49-F238E27FC236}">
                  <a16:creationId xmlns:a16="http://schemas.microsoft.com/office/drawing/2014/main" id="{1B63226B-362D-4FCD-9C21-0526D5D9F8E5}"/>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C466FF26-9CF8-4195-AC84-7F96068E1C28}"/>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5" name="Freeform 14">
            <a:extLst>
              <a:ext uri="{FF2B5EF4-FFF2-40B4-BE49-F238E27FC236}">
                <a16:creationId xmlns:a16="http://schemas.microsoft.com/office/drawing/2014/main" id="{D27481FD-214F-4DB1-B1EF-12D290AFAF44}"/>
              </a:ext>
            </a:extLst>
          </p:cNvPr>
          <p:cNvSpPr>
            <a:spLocks noEditPoints="1"/>
          </p:cNvSpPr>
          <p:nvPr/>
        </p:nvSpPr>
        <p:spPr bwMode="auto">
          <a:xfrm>
            <a:off x="2523230" y="1839178"/>
            <a:ext cx="632308" cy="560676"/>
          </a:xfrm>
          <a:custGeom>
            <a:avLst/>
            <a:gdLst>
              <a:gd name="T0" fmla="*/ 177 w 1154"/>
              <a:gd name="T1" fmla="*/ 506 h 1021"/>
              <a:gd name="T2" fmla="*/ 364 w 1154"/>
              <a:gd name="T3" fmla="*/ 694 h 1021"/>
              <a:gd name="T4" fmla="*/ 886 w 1154"/>
              <a:gd name="T5" fmla="*/ 171 h 1021"/>
              <a:gd name="T6" fmla="*/ 951 w 1154"/>
              <a:gd name="T7" fmla="*/ 235 h 1021"/>
              <a:gd name="T8" fmla="*/ 364 w 1154"/>
              <a:gd name="T9" fmla="*/ 822 h 1021"/>
              <a:gd name="T10" fmla="*/ 112 w 1154"/>
              <a:gd name="T11" fmla="*/ 570 h 1021"/>
              <a:gd name="T12" fmla="*/ 177 w 1154"/>
              <a:gd name="T13" fmla="*/ 506 h 1021"/>
              <a:gd name="T14" fmla="*/ 1031 w 1154"/>
              <a:gd name="T15" fmla="*/ 923 h 1021"/>
              <a:gd name="T16" fmla="*/ 942 w 1154"/>
              <a:gd name="T17" fmla="*/ 850 h 1021"/>
              <a:gd name="T18" fmla="*/ 1021 w 1154"/>
              <a:gd name="T19" fmla="*/ 750 h 1021"/>
              <a:gd name="T20" fmla="*/ 1141 w 1154"/>
              <a:gd name="T21" fmla="*/ 835 h 1021"/>
              <a:gd name="T22" fmla="*/ 968 w 1154"/>
              <a:gd name="T23" fmla="*/ 1020 h 1021"/>
              <a:gd name="T24" fmla="*/ 964 w 1154"/>
              <a:gd name="T25" fmla="*/ 1018 h 1021"/>
              <a:gd name="T26" fmla="*/ 959 w 1154"/>
              <a:gd name="T27" fmla="*/ 988 h 1021"/>
              <a:gd name="T28" fmla="*/ 962 w 1154"/>
              <a:gd name="T29" fmla="*/ 984 h 1021"/>
              <a:gd name="T30" fmla="*/ 1031 w 1154"/>
              <a:gd name="T31" fmla="*/ 923 h 1021"/>
              <a:gd name="T32" fmla="*/ 781 w 1154"/>
              <a:gd name="T33" fmla="*/ 923 h 1021"/>
              <a:gd name="T34" fmla="*/ 692 w 1154"/>
              <a:gd name="T35" fmla="*/ 850 h 1021"/>
              <a:gd name="T36" fmla="*/ 770 w 1154"/>
              <a:gd name="T37" fmla="*/ 750 h 1021"/>
              <a:gd name="T38" fmla="*/ 891 w 1154"/>
              <a:gd name="T39" fmla="*/ 835 h 1021"/>
              <a:gd name="T40" fmla="*/ 718 w 1154"/>
              <a:gd name="T41" fmla="*/ 1020 h 1021"/>
              <a:gd name="T42" fmla="*/ 713 w 1154"/>
              <a:gd name="T43" fmla="*/ 1018 h 1021"/>
              <a:gd name="T44" fmla="*/ 709 w 1154"/>
              <a:gd name="T45" fmla="*/ 988 h 1021"/>
              <a:gd name="T46" fmla="*/ 711 w 1154"/>
              <a:gd name="T47" fmla="*/ 984 h 1021"/>
              <a:gd name="T48" fmla="*/ 781 w 1154"/>
              <a:gd name="T49" fmla="*/ 923 h 1021"/>
              <a:gd name="T50" fmla="*/ 373 w 1154"/>
              <a:gd name="T51" fmla="*/ 97 h 1021"/>
              <a:gd name="T52" fmla="*/ 462 w 1154"/>
              <a:gd name="T53" fmla="*/ 171 h 1021"/>
              <a:gd name="T54" fmla="*/ 383 w 1154"/>
              <a:gd name="T55" fmla="*/ 270 h 1021"/>
              <a:gd name="T56" fmla="*/ 263 w 1154"/>
              <a:gd name="T57" fmla="*/ 186 h 1021"/>
              <a:gd name="T58" fmla="*/ 436 w 1154"/>
              <a:gd name="T59" fmla="*/ 0 h 1021"/>
              <a:gd name="T60" fmla="*/ 441 w 1154"/>
              <a:gd name="T61" fmla="*/ 2 h 1021"/>
              <a:gd name="T62" fmla="*/ 445 w 1154"/>
              <a:gd name="T63" fmla="*/ 32 h 1021"/>
              <a:gd name="T64" fmla="*/ 443 w 1154"/>
              <a:gd name="T65" fmla="*/ 36 h 1021"/>
              <a:gd name="T66" fmla="*/ 373 w 1154"/>
              <a:gd name="T67" fmla="*/ 97 h 1021"/>
              <a:gd name="T68" fmla="*/ 123 w 1154"/>
              <a:gd name="T69" fmla="*/ 97 h 1021"/>
              <a:gd name="T70" fmla="*/ 212 w 1154"/>
              <a:gd name="T71" fmla="*/ 171 h 1021"/>
              <a:gd name="T72" fmla="*/ 133 w 1154"/>
              <a:gd name="T73" fmla="*/ 270 h 1021"/>
              <a:gd name="T74" fmla="*/ 13 w 1154"/>
              <a:gd name="T75" fmla="*/ 186 h 1021"/>
              <a:gd name="T76" fmla="*/ 186 w 1154"/>
              <a:gd name="T77" fmla="*/ 0 h 1021"/>
              <a:gd name="T78" fmla="*/ 190 w 1154"/>
              <a:gd name="T79" fmla="*/ 2 h 1021"/>
              <a:gd name="T80" fmla="*/ 195 w 1154"/>
              <a:gd name="T81" fmla="*/ 32 h 1021"/>
              <a:gd name="T82" fmla="*/ 192 w 1154"/>
              <a:gd name="T83" fmla="*/ 36 h 1021"/>
              <a:gd name="T84" fmla="*/ 123 w 1154"/>
              <a:gd name="T85" fmla="*/ 97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4" h="1021">
                <a:moveTo>
                  <a:pt x="177" y="506"/>
                </a:moveTo>
                <a:cubicBezTo>
                  <a:pt x="364" y="694"/>
                  <a:pt x="364" y="694"/>
                  <a:pt x="364" y="694"/>
                </a:cubicBezTo>
                <a:cubicBezTo>
                  <a:pt x="886" y="171"/>
                  <a:pt x="886" y="171"/>
                  <a:pt x="886" y="171"/>
                </a:cubicBezTo>
                <a:cubicBezTo>
                  <a:pt x="951" y="235"/>
                  <a:pt x="951" y="235"/>
                  <a:pt x="951" y="235"/>
                </a:cubicBezTo>
                <a:cubicBezTo>
                  <a:pt x="364" y="822"/>
                  <a:pt x="364" y="822"/>
                  <a:pt x="364" y="822"/>
                </a:cubicBezTo>
                <a:cubicBezTo>
                  <a:pt x="112" y="570"/>
                  <a:pt x="112" y="570"/>
                  <a:pt x="112" y="570"/>
                </a:cubicBezTo>
                <a:lnTo>
                  <a:pt x="177" y="506"/>
                </a:lnTo>
                <a:close/>
                <a:moveTo>
                  <a:pt x="1031" y="923"/>
                </a:moveTo>
                <a:cubicBezTo>
                  <a:pt x="987" y="922"/>
                  <a:pt x="949" y="892"/>
                  <a:pt x="942" y="850"/>
                </a:cubicBezTo>
                <a:cubicBezTo>
                  <a:pt x="934" y="802"/>
                  <a:pt x="969" y="758"/>
                  <a:pt x="1021" y="750"/>
                </a:cubicBezTo>
                <a:cubicBezTo>
                  <a:pt x="1072" y="743"/>
                  <a:pt x="1128" y="769"/>
                  <a:pt x="1141" y="835"/>
                </a:cubicBezTo>
                <a:cubicBezTo>
                  <a:pt x="1154" y="930"/>
                  <a:pt x="1080" y="1008"/>
                  <a:pt x="968" y="1020"/>
                </a:cubicBezTo>
                <a:cubicBezTo>
                  <a:pt x="964" y="1021"/>
                  <a:pt x="964" y="1018"/>
                  <a:pt x="964" y="1018"/>
                </a:cubicBezTo>
                <a:cubicBezTo>
                  <a:pt x="959" y="988"/>
                  <a:pt x="959" y="988"/>
                  <a:pt x="959" y="988"/>
                </a:cubicBezTo>
                <a:cubicBezTo>
                  <a:pt x="959" y="988"/>
                  <a:pt x="958" y="985"/>
                  <a:pt x="962" y="984"/>
                </a:cubicBezTo>
                <a:cubicBezTo>
                  <a:pt x="993" y="976"/>
                  <a:pt x="1021" y="961"/>
                  <a:pt x="1031" y="923"/>
                </a:cubicBezTo>
                <a:close/>
                <a:moveTo>
                  <a:pt x="781" y="923"/>
                </a:moveTo>
                <a:cubicBezTo>
                  <a:pt x="737" y="922"/>
                  <a:pt x="699" y="892"/>
                  <a:pt x="692" y="850"/>
                </a:cubicBezTo>
                <a:cubicBezTo>
                  <a:pt x="684" y="802"/>
                  <a:pt x="719" y="758"/>
                  <a:pt x="770" y="750"/>
                </a:cubicBezTo>
                <a:cubicBezTo>
                  <a:pt x="821" y="743"/>
                  <a:pt x="878" y="769"/>
                  <a:pt x="891" y="835"/>
                </a:cubicBezTo>
                <a:cubicBezTo>
                  <a:pt x="904" y="930"/>
                  <a:pt x="830" y="1008"/>
                  <a:pt x="718" y="1020"/>
                </a:cubicBezTo>
                <a:cubicBezTo>
                  <a:pt x="714" y="1021"/>
                  <a:pt x="713" y="1018"/>
                  <a:pt x="713" y="1018"/>
                </a:cubicBezTo>
                <a:cubicBezTo>
                  <a:pt x="709" y="988"/>
                  <a:pt x="709" y="988"/>
                  <a:pt x="709" y="988"/>
                </a:cubicBezTo>
                <a:cubicBezTo>
                  <a:pt x="709" y="988"/>
                  <a:pt x="708" y="985"/>
                  <a:pt x="711" y="984"/>
                </a:cubicBezTo>
                <a:cubicBezTo>
                  <a:pt x="743" y="976"/>
                  <a:pt x="770" y="961"/>
                  <a:pt x="781" y="923"/>
                </a:cubicBezTo>
                <a:close/>
                <a:moveTo>
                  <a:pt x="373" y="97"/>
                </a:moveTo>
                <a:cubicBezTo>
                  <a:pt x="417" y="99"/>
                  <a:pt x="455" y="128"/>
                  <a:pt x="462" y="171"/>
                </a:cubicBezTo>
                <a:cubicBezTo>
                  <a:pt x="470" y="218"/>
                  <a:pt x="435" y="263"/>
                  <a:pt x="383" y="270"/>
                </a:cubicBezTo>
                <a:cubicBezTo>
                  <a:pt x="333" y="277"/>
                  <a:pt x="276" y="251"/>
                  <a:pt x="263" y="186"/>
                </a:cubicBezTo>
                <a:cubicBezTo>
                  <a:pt x="250" y="90"/>
                  <a:pt x="324" y="12"/>
                  <a:pt x="436" y="0"/>
                </a:cubicBezTo>
                <a:cubicBezTo>
                  <a:pt x="440" y="0"/>
                  <a:pt x="441" y="2"/>
                  <a:pt x="441" y="2"/>
                </a:cubicBezTo>
                <a:cubicBezTo>
                  <a:pt x="445" y="32"/>
                  <a:pt x="445" y="32"/>
                  <a:pt x="445" y="32"/>
                </a:cubicBezTo>
                <a:cubicBezTo>
                  <a:pt x="445" y="32"/>
                  <a:pt x="446" y="35"/>
                  <a:pt x="443" y="36"/>
                </a:cubicBezTo>
                <a:cubicBezTo>
                  <a:pt x="411" y="45"/>
                  <a:pt x="383" y="60"/>
                  <a:pt x="373" y="97"/>
                </a:cubicBezTo>
                <a:close/>
                <a:moveTo>
                  <a:pt x="123" y="97"/>
                </a:moveTo>
                <a:cubicBezTo>
                  <a:pt x="167" y="99"/>
                  <a:pt x="205" y="128"/>
                  <a:pt x="212" y="171"/>
                </a:cubicBezTo>
                <a:cubicBezTo>
                  <a:pt x="220" y="218"/>
                  <a:pt x="185" y="263"/>
                  <a:pt x="133" y="270"/>
                </a:cubicBezTo>
                <a:cubicBezTo>
                  <a:pt x="82" y="277"/>
                  <a:pt x="26" y="251"/>
                  <a:pt x="13" y="186"/>
                </a:cubicBezTo>
                <a:cubicBezTo>
                  <a:pt x="0" y="90"/>
                  <a:pt x="74" y="12"/>
                  <a:pt x="186" y="0"/>
                </a:cubicBezTo>
                <a:cubicBezTo>
                  <a:pt x="190" y="0"/>
                  <a:pt x="190" y="2"/>
                  <a:pt x="190" y="2"/>
                </a:cubicBezTo>
                <a:cubicBezTo>
                  <a:pt x="195" y="32"/>
                  <a:pt x="195" y="32"/>
                  <a:pt x="195" y="32"/>
                </a:cubicBezTo>
                <a:cubicBezTo>
                  <a:pt x="195" y="32"/>
                  <a:pt x="196" y="35"/>
                  <a:pt x="192" y="36"/>
                </a:cubicBezTo>
                <a:cubicBezTo>
                  <a:pt x="161" y="45"/>
                  <a:pt x="133" y="60"/>
                  <a:pt x="123" y="9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10">
            <a:extLst>
              <a:ext uri="{FF2B5EF4-FFF2-40B4-BE49-F238E27FC236}">
                <a16:creationId xmlns:a16="http://schemas.microsoft.com/office/drawing/2014/main" id="{F75193B7-9B2A-47C6-8C0A-EA0D95FE0158}"/>
              </a:ext>
            </a:extLst>
          </p:cNvPr>
          <p:cNvSpPr>
            <a:spLocks noEditPoints="1"/>
          </p:cNvSpPr>
          <p:nvPr/>
        </p:nvSpPr>
        <p:spPr bwMode="auto">
          <a:xfrm>
            <a:off x="8982872" y="1821161"/>
            <a:ext cx="729955" cy="609410"/>
          </a:xfrm>
          <a:custGeom>
            <a:avLst/>
            <a:gdLst>
              <a:gd name="T0" fmla="*/ 663 w 2840"/>
              <a:gd name="T1" fmla="*/ 238 h 2371"/>
              <a:gd name="T2" fmla="*/ 852 w 2840"/>
              <a:gd name="T3" fmla="*/ 238 h 2371"/>
              <a:gd name="T4" fmla="*/ 852 w 2840"/>
              <a:gd name="T5" fmla="*/ 2134 h 2371"/>
              <a:gd name="T6" fmla="*/ 663 w 2840"/>
              <a:gd name="T7" fmla="*/ 2134 h 2371"/>
              <a:gd name="T8" fmla="*/ 663 w 2840"/>
              <a:gd name="T9" fmla="*/ 238 h 2371"/>
              <a:gd name="T10" fmla="*/ 1988 w 2840"/>
              <a:gd name="T11" fmla="*/ 0 h 2371"/>
              <a:gd name="T12" fmla="*/ 2177 w 2840"/>
              <a:gd name="T13" fmla="*/ 0 h 2371"/>
              <a:gd name="T14" fmla="*/ 2177 w 2840"/>
              <a:gd name="T15" fmla="*/ 2371 h 2371"/>
              <a:gd name="T16" fmla="*/ 1988 w 2840"/>
              <a:gd name="T17" fmla="*/ 2371 h 2371"/>
              <a:gd name="T18" fmla="*/ 1988 w 2840"/>
              <a:gd name="T19" fmla="*/ 0 h 2371"/>
              <a:gd name="T20" fmla="*/ 994 w 2840"/>
              <a:gd name="T21" fmla="*/ 521 h 2371"/>
              <a:gd name="T22" fmla="*/ 1183 w 2840"/>
              <a:gd name="T23" fmla="*/ 521 h 2371"/>
              <a:gd name="T24" fmla="*/ 1183 w 2840"/>
              <a:gd name="T25" fmla="*/ 1850 h 2371"/>
              <a:gd name="T26" fmla="*/ 994 w 2840"/>
              <a:gd name="T27" fmla="*/ 1850 h 2371"/>
              <a:gd name="T28" fmla="*/ 994 w 2840"/>
              <a:gd name="T29" fmla="*/ 521 h 2371"/>
              <a:gd name="T30" fmla="*/ 1657 w 2840"/>
              <a:gd name="T31" fmla="*/ 331 h 2371"/>
              <a:gd name="T32" fmla="*/ 1846 w 2840"/>
              <a:gd name="T33" fmla="*/ 331 h 2371"/>
              <a:gd name="T34" fmla="*/ 1846 w 2840"/>
              <a:gd name="T35" fmla="*/ 2040 h 2371"/>
              <a:gd name="T36" fmla="*/ 1657 w 2840"/>
              <a:gd name="T37" fmla="*/ 2040 h 2371"/>
              <a:gd name="T38" fmla="*/ 1657 w 2840"/>
              <a:gd name="T39" fmla="*/ 331 h 2371"/>
              <a:gd name="T40" fmla="*/ 2318 w 2840"/>
              <a:gd name="T41" fmla="*/ 521 h 2371"/>
              <a:gd name="T42" fmla="*/ 2507 w 2840"/>
              <a:gd name="T43" fmla="*/ 521 h 2371"/>
              <a:gd name="T44" fmla="*/ 2507 w 2840"/>
              <a:gd name="T45" fmla="*/ 1850 h 2371"/>
              <a:gd name="T46" fmla="*/ 2318 w 2840"/>
              <a:gd name="T47" fmla="*/ 1850 h 2371"/>
              <a:gd name="T48" fmla="*/ 2318 w 2840"/>
              <a:gd name="T49" fmla="*/ 521 h 2371"/>
              <a:gd name="T50" fmla="*/ 333 w 2840"/>
              <a:gd name="T51" fmla="*/ 711 h 2371"/>
              <a:gd name="T52" fmla="*/ 522 w 2840"/>
              <a:gd name="T53" fmla="*/ 711 h 2371"/>
              <a:gd name="T54" fmla="*/ 522 w 2840"/>
              <a:gd name="T55" fmla="*/ 1661 h 2371"/>
              <a:gd name="T56" fmla="*/ 333 w 2840"/>
              <a:gd name="T57" fmla="*/ 1661 h 2371"/>
              <a:gd name="T58" fmla="*/ 333 w 2840"/>
              <a:gd name="T59" fmla="*/ 711 h 2371"/>
              <a:gd name="T60" fmla="*/ 1324 w 2840"/>
              <a:gd name="T61" fmla="*/ 854 h 2371"/>
              <a:gd name="T62" fmla="*/ 1516 w 2840"/>
              <a:gd name="T63" fmla="*/ 854 h 2371"/>
              <a:gd name="T64" fmla="*/ 1516 w 2840"/>
              <a:gd name="T65" fmla="*/ 1517 h 2371"/>
              <a:gd name="T66" fmla="*/ 1324 w 2840"/>
              <a:gd name="T67" fmla="*/ 1517 h 2371"/>
              <a:gd name="T68" fmla="*/ 1324 w 2840"/>
              <a:gd name="T69" fmla="*/ 854 h 2371"/>
              <a:gd name="T70" fmla="*/ 2651 w 2840"/>
              <a:gd name="T71" fmla="*/ 900 h 2371"/>
              <a:gd name="T72" fmla="*/ 2840 w 2840"/>
              <a:gd name="T73" fmla="*/ 900 h 2371"/>
              <a:gd name="T74" fmla="*/ 2840 w 2840"/>
              <a:gd name="T75" fmla="*/ 1471 h 2371"/>
              <a:gd name="T76" fmla="*/ 2651 w 2840"/>
              <a:gd name="T77" fmla="*/ 1471 h 2371"/>
              <a:gd name="T78" fmla="*/ 2651 w 2840"/>
              <a:gd name="T79" fmla="*/ 900 h 2371"/>
              <a:gd name="T80" fmla="*/ 0 w 2840"/>
              <a:gd name="T81" fmla="*/ 1090 h 2371"/>
              <a:gd name="T82" fmla="*/ 189 w 2840"/>
              <a:gd name="T83" fmla="*/ 1090 h 2371"/>
              <a:gd name="T84" fmla="*/ 189 w 2840"/>
              <a:gd name="T85" fmla="*/ 1281 h 2371"/>
              <a:gd name="T86" fmla="*/ 0 w 2840"/>
              <a:gd name="T87" fmla="*/ 1281 h 2371"/>
              <a:gd name="T88" fmla="*/ 0 w 2840"/>
              <a:gd name="T89" fmla="*/ 1090 h 2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40" h="2371">
                <a:moveTo>
                  <a:pt x="663" y="238"/>
                </a:moveTo>
                <a:lnTo>
                  <a:pt x="852" y="238"/>
                </a:lnTo>
                <a:lnTo>
                  <a:pt x="852" y="2134"/>
                </a:lnTo>
                <a:lnTo>
                  <a:pt x="663" y="2134"/>
                </a:lnTo>
                <a:lnTo>
                  <a:pt x="663" y="238"/>
                </a:lnTo>
                <a:close/>
                <a:moveTo>
                  <a:pt x="1988" y="0"/>
                </a:moveTo>
                <a:lnTo>
                  <a:pt x="2177" y="0"/>
                </a:lnTo>
                <a:lnTo>
                  <a:pt x="2177" y="2371"/>
                </a:lnTo>
                <a:lnTo>
                  <a:pt x="1988" y="2371"/>
                </a:lnTo>
                <a:lnTo>
                  <a:pt x="1988" y="0"/>
                </a:lnTo>
                <a:close/>
                <a:moveTo>
                  <a:pt x="994" y="521"/>
                </a:moveTo>
                <a:lnTo>
                  <a:pt x="1183" y="521"/>
                </a:lnTo>
                <a:lnTo>
                  <a:pt x="1183" y="1850"/>
                </a:lnTo>
                <a:lnTo>
                  <a:pt x="994" y="1850"/>
                </a:lnTo>
                <a:lnTo>
                  <a:pt x="994" y="521"/>
                </a:lnTo>
                <a:close/>
                <a:moveTo>
                  <a:pt x="1657" y="331"/>
                </a:moveTo>
                <a:lnTo>
                  <a:pt x="1846" y="331"/>
                </a:lnTo>
                <a:lnTo>
                  <a:pt x="1846" y="2040"/>
                </a:lnTo>
                <a:lnTo>
                  <a:pt x="1657" y="2040"/>
                </a:lnTo>
                <a:lnTo>
                  <a:pt x="1657" y="331"/>
                </a:lnTo>
                <a:close/>
                <a:moveTo>
                  <a:pt x="2318" y="521"/>
                </a:moveTo>
                <a:lnTo>
                  <a:pt x="2507" y="521"/>
                </a:lnTo>
                <a:lnTo>
                  <a:pt x="2507" y="1850"/>
                </a:lnTo>
                <a:lnTo>
                  <a:pt x="2318" y="1850"/>
                </a:lnTo>
                <a:lnTo>
                  <a:pt x="2318" y="521"/>
                </a:lnTo>
                <a:close/>
                <a:moveTo>
                  <a:pt x="333" y="711"/>
                </a:moveTo>
                <a:lnTo>
                  <a:pt x="522" y="711"/>
                </a:lnTo>
                <a:lnTo>
                  <a:pt x="522" y="1661"/>
                </a:lnTo>
                <a:lnTo>
                  <a:pt x="333" y="1661"/>
                </a:lnTo>
                <a:lnTo>
                  <a:pt x="333" y="711"/>
                </a:lnTo>
                <a:close/>
                <a:moveTo>
                  <a:pt x="1324" y="854"/>
                </a:moveTo>
                <a:lnTo>
                  <a:pt x="1516" y="854"/>
                </a:lnTo>
                <a:lnTo>
                  <a:pt x="1516" y="1517"/>
                </a:lnTo>
                <a:lnTo>
                  <a:pt x="1324" y="1517"/>
                </a:lnTo>
                <a:lnTo>
                  <a:pt x="1324" y="854"/>
                </a:lnTo>
                <a:close/>
                <a:moveTo>
                  <a:pt x="2651" y="900"/>
                </a:moveTo>
                <a:lnTo>
                  <a:pt x="2840" y="900"/>
                </a:lnTo>
                <a:lnTo>
                  <a:pt x="2840" y="1471"/>
                </a:lnTo>
                <a:lnTo>
                  <a:pt x="2651" y="1471"/>
                </a:lnTo>
                <a:lnTo>
                  <a:pt x="2651" y="900"/>
                </a:lnTo>
                <a:close/>
                <a:moveTo>
                  <a:pt x="0" y="1090"/>
                </a:moveTo>
                <a:lnTo>
                  <a:pt x="189" y="1090"/>
                </a:lnTo>
                <a:lnTo>
                  <a:pt x="189" y="1281"/>
                </a:lnTo>
                <a:lnTo>
                  <a:pt x="0" y="1281"/>
                </a:lnTo>
                <a:lnTo>
                  <a:pt x="0" y="1090"/>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9">
            <a:extLst>
              <a:ext uri="{FF2B5EF4-FFF2-40B4-BE49-F238E27FC236}">
                <a16:creationId xmlns:a16="http://schemas.microsoft.com/office/drawing/2014/main" id="{95E17712-AEF8-4108-A409-4C1D746214F1}"/>
              </a:ext>
            </a:extLst>
          </p:cNvPr>
          <p:cNvGrpSpPr/>
          <p:nvPr/>
        </p:nvGrpSpPr>
        <p:grpSpPr>
          <a:xfrm>
            <a:off x="864" y="254613"/>
            <a:ext cx="1188839" cy="956984"/>
            <a:chOff x="864" y="254613"/>
            <a:chExt cx="1188839" cy="956984"/>
          </a:xfrm>
        </p:grpSpPr>
        <p:sp>
          <p:nvSpPr>
            <p:cNvPr id="34" name="Rectangle 33"/>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0" name="Group 39">
              <a:extLst>
                <a:ext uri="{FF2B5EF4-FFF2-40B4-BE49-F238E27FC236}">
                  <a16:creationId xmlns:a16="http://schemas.microsoft.com/office/drawing/2014/main" id="{16084DAB-62DA-4BAC-8404-0E1191913BA1}"/>
                </a:ext>
              </a:extLst>
            </p:cNvPr>
            <p:cNvGrpSpPr>
              <a:grpSpLocks noChangeAspect="1"/>
            </p:cNvGrpSpPr>
            <p:nvPr/>
          </p:nvGrpSpPr>
          <p:grpSpPr bwMode="auto">
            <a:xfrm>
              <a:off x="280465" y="471791"/>
              <a:ext cx="624195" cy="534165"/>
              <a:chOff x="1" y="3"/>
              <a:chExt cx="2697" cy="2308"/>
            </a:xfrm>
            <a:solidFill>
              <a:schemeClr val="bg2"/>
            </a:solidFill>
          </p:grpSpPr>
          <p:sp>
            <p:nvSpPr>
              <p:cNvPr id="41" name="Freeform 5">
                <a:extLst>
                  <a:ext uri="{FF2B5EF4-FFF2-40B4-BE49-F238E27FC236}">
                    <a16:creationId xmlns:a16="http://schemas.microsoft.com/office/drawing/2014/main" id="{6D54119A-34B3-49E0-BB21-5B94D4C69C8F}"/>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0CF0CDB0-3B79-4AA4-9C3D-C4F07E2C4094}"/>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 name="TextBox 3">
            <a:extLst>
              <a:ext uri="{FF2B5EF4-FFF2-40B4-BE49-F238E27FC236}">
                <a16:creationId xmlns:a16="http://schemas.microsoft.com/office/drawing/2014/main" id="{1B25515A-C186-455D-9000-CFC538E30E69}"/>
              </a:ext>
            </a:extLst>
          </p:cNvPr>
          <p:cNvSpPr txBox="1"/>
          <p:nvPr/>
        </p:nvSpPr>
        <p:spPr>
          <a:xfrm>
            <a:off x="1475158" y="2980738"/>
            <a:ext cx="2728453" cy="523220"/>
          </a:xfrm>
          <a:prstGeom prst="rect">
            <a:avLst/>
          </a:prstGeom>
        </p:spPr>
        <p:txBody>
          <a:bodyPr wrap="square">
            <a:spAutoFit/>
          </a:bodyPr>
          <a:lstStyle>
            <a:defPPr>
              <a:defRPr lang="en-US"/>
            </a:defPPr>
            <a:lvl1pPr algn="ctr">
              <a:defRPr sz="1400">
                <a:gradFill>
                  <a:gsLst>
                    <a:gs pos="6364">
                      <a:srgbClr val="353535"/>
                    </a:gs>
                    <a:gs pos="21818">
                      <a:srgbClr val="353535"/>
                    </a:gs>
                  </a:gsLst>
                  <a:lin ang="5400000" scaled="0"/>
                </a:gradFill>
              </a:defRPr>
            </a:lvl1pPr>
          </a:lstStyle>
          <a:p>
            <a:r>
              <a:rPr lang="en-US" dirty="0"/>
              <a:t>Use speech to identify and verify individual speakers</a:t>
            </a:r>
          </a:p>
        </p:txBody>
      </p:sp>
      <p:sp>
        <p:nvSpPr>
          <p:cNvPr id="25" name="TextBox 24">
            <a:extLst>
              <a:ext uri="{FF2B5EF4-FFF2-40B4-BE49-F238E27FC236}">
                <a16:creationId xmlns:a16="http://schemas.microsoft.com/office/drawing/2014/main" id="{C6DA07F5-D72C-46CB-A478-2C6AF8871154}"/>
              </a:ext>
            </a:extLst>
          </p:cNvPr>
          <p:cNvSpPr txBox="1"/>
          <p:nvPr/>
        </p:nvSpPr>
        <p:spPr>
          <a:xfrm>
            <a:off x="6182515" y="4780829"/>
            <a:ext cx="309294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5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Speech</a:t>
            </a:r>
          </a:p>
        </p:txBody>
      </p:sp>
      <p:sp>
        <p:nvSpPr>
          <p:cNvPr id="28" name="TextBox 27">
            <a:extLst>
              <a:ext uri="{FF2B5EF4-FFF2-40B4-BE49-F238E27FC236}">
                <a16:creationId xmlns:a16="http://schemas.microsoft.com/office/drawing/2014/main" id="{CF860D45-B2A9-4C85-8B33-B957B27D724D}"/>
              </a:ext>
            </a:extLst>
          </p:cNvPr>
          <p:cNvSpPr txBox="1"/>
          <p:nvPr/>
        </p:nvSpPr>
        <p:spPr>
          <a:xfrm>
            <a:off x="7801376" y="2567390"/>
            <a:ext cx="309294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5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ustom Speech</a:t>
            </a:r>
          </a:p>
        </p:txBody>
      </p:sp>
      <p:sp>
        <p:nvSpPr>
          <p:cNvPr id="31" name="TextBox 30">
            <a:extLst>
              <a:ext uri="{FF2B5EF4-FFF2-40B4-BE49-F238E27FC236}">
                <a16:creationId xmlns:a16="http://schemas.microsoft.com/office/drawing/2014/main" id="{44FC3578-0CE1-4DCB-9259-C11D94EDBC7E}"/>
              </a:ext>
            </a:extLst>
          </p:cNvPr>
          <p:cNvSpPr txBox="1"/>
          <p:nvPr/>
        </p:nvSpPr>
        <p:spPr>
          <a:xfrm>
            <a:off x="4565667" y="2567390"/>
            <a:ext cx="309294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5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ranslator Speech</a:t>
            </a:r>
          </a:p>
        </p:txBody>
      </p:sp>
      <p:sp>
        <p:nvSpPr>
          <p:cNvPr id="37" name="TextBox 36">
            <a:extLst>
              <a:ext uri="{FF2B5EF4-FFF2-40B4-BE49-F238E27FC236}">
                <a16:creationId xmlns:a16="http://schemas.microsoft.com/office/drawing/2014/main" id="{FE99FDA8-E1C8-402D-A252-991D43A67F00}"/>
              </a:ext>
            </a:extLst>
          </p:cNvPr>
          <p:cNvSpPr txBox="1"/>
          <p:nvPr/>
        </p:nvSpPr>
        <p:spPr>
          <a:xfrm>
            <a:off x="2915194" y="4780829"/>
            <a:ext cx="309294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5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Unified Speech service</a:t>
            </a:r>
          </a:p>
        </p:txBody>
      </p:sp>
      <p:sp>
        <p:nvSpPr>
          <p:cNvPr id="9" name="Rectangle 8">
            <a:extLst>
              <a:ext uri="{FF2B5EF4-FFF2-40B4-BE49-F238E27FC236}">
                <a16:creationId xmlns:a16="http://schemas.microsoft.com/office/drawing/2014/main" id="{B64A35B1-CD9C-403F-8E36-899495EB8546}"/>
              </a:ext>
            </a:extLst>
          </p:cNvPr>
          <p:cNvSpPr/>
          <p:nvPr/>
        </p:nvSpPr>
        <p:spPr>
          <a:xfrm>
            <a:off x="6482348" y="5232147"/>
            <a:ext cx="2493280" cy="738664"/>
          </a:xfrm>
          <a:prstGeom prst="rect">
            <a:avLst/>
          </a:prstGeom>
        </p:spPr>
        <p:txBody>
          <a:bodyPr wrap="square">
            <a:spAutoFit/>
          </a:bodyPr>
          <a:lstStyle/>
          <a:p>
            <a:pPr algn="ctr"/>
            <a:r>
              <a:rPr lang="en-US" sz="1400" dirty="0">
                <a:gradFill>
                  <a:gsLst>
                    <a:gs pos="6364">
                      <a:srgbClr val="353535"/>
                    </a:gs>
                    <a:gs pos="21818">
                      <a:srgbClr val="353535"/>
                    </a:gs>
                  </a:gsLst>
                  <a:lin ang="5400000" scaled="0"/>
                </a:gradFill>
              </a:rPr>
              <a:t>Convert speech to text and back again to understand user intent</a:t>
            </a:r>
          </a:p>
        </p:txBody>
      </p:sp>
      <p:sp>
        <p:nvSpPr>
          <p:cNvPr id="10" name="Rectangle 9">
            <a:extLst>
              <a:ext uri="{FF2B5EF4-FFF2-40B4-BE49-F238E27FC236}">
                <a16:creationId xmlns:a16="http://schemas.microsoft.com/office/drawing/2014/main" id="{9258BC75-1C3D-47D5-B33D-3EB33BE1D9D0}"/>
              </a:ext>
            </a:extLst>
          </p:cNvPr>
          <p:cNvSpPr/>
          <p:nvPr/>
        </p:nvSpPr>
        <p:spPr>
          <a:xfrm>
            <a:off x="8106700" y="2980738"/>
            <a:ext cx="2482299" cy="954107"/>
          </a:xfrm>
          <a:prstGeom prst="rect">
            <a:avLst/>
          </a:prstGeom>
        </p:spPr>
        <p:txBody>
          <a:bodyPr wrap="square">
            <a:spAutoFit/>
          </a:bodyPr>
          <a:lstStyle/>
          <a:p>
            <a:pPr algn="ctr"/>
            <a:r>
              <a:rPr lang="en-US" sz="1400" dirty="0">
                <a:gradFill>
                  <a:gsLst>
                    <a:gs pos="6364">
                      <a:srgbClr val="353535"/>
                    </a:gs>
                    <a:gs pos="21818">
                      <a:srgbClr val="353535"/>
                    </a:gs>
                  </a:gsLst>
                  <a:lin ang="5400000" scaled="0"/>
                </a:gradFill>
              </a:rPr>
              <a:t>Overcome speech recognition barriers like speaking style, background noise, and vocabulary</a:t>
            </a:r>
          </a:p>
        </p:txBody>
      </p:sp>
      <p:sp>
        <p:nvSpPr>
          <p:cNvPr id="11" name="Rectangle 10">
            <a:extLst>
              <a:ext uri="{FF2B5EF4-FFF2-40B4-BE49-F238E27FC236}">
                <a16:creationId xmlns:a16="http://schemas.microsoft.com/office/drawing/2014/main" id="{D2FA1BA2-3F30-4BB9-9DD9-47EA1AD9A4B3}"/>
              </a:ext>
            </a:extLst>
          </p:cNvPr>
          <p:cNvSpPr/>
          <p:nvPr/>
        </p:nvSpPr>
        <p:spPr>
          <a:xfrm>
            <a:off x="4869093" y="2980738"/>
            <a:ext cx="2486095" cy="738664"/>
          </a:xfrm>
          <a:prstGeom prst="rect">
            <a:avLst/>
          </a:prstGeom>
        </p:spPr>
        <p:txBody>
          <a:bodyPr wrap="square">
            <a:spAutoFit/>
          </a:bodyPr>
          <a:lstStyle/>
          <a:p>
            <a:pPr algn="ctr"/>
            <a:r>
              <a:rPr lang="en-US" sz="1400" dirty="0">
                <a:gradFill>
                  <a:gsLst>
                    <a:gs pos="6364">
                      <a:srgbClr val="353535"/>
                    </a:gs>
                    <a:gs pos="21818">
                      <a:srgbClr val="353535"/>
                    </a:gs>
                  </a:gsLst>
                  <a:lin ang="5400000" scaled="0"/>
                </a:gradFill>
              </a:rPr>
              <a:t>Easily conduct real-time speech translation with </a:t>
            </a:r>
            <a:br>
              <a:rPr lang="en-US" sz="1400" dirty="0">
                <a:gradFill>
                  <a:gsLst>
                    <a:gs pos="6364">
                      <a:srgbClr val="353535"/>
                    </a:gs>
                    <a:gs pos="21818">
                      <a:srgbClr val="353535"/>
                    </a:gs>
                  </a:gsLst>
                  <a:lin ang="5400000" scaled="0"/>
                </a:gradFill>
              </a:rPr>
            </a:br>
            <a:r>
              <a:rPr lang="en-US" sz="1400" dirty="0">
                <a:gradFill>
                  <a:gsLst>
                    <a:gs pos="6364">
                      <a:srgbClr val="353535"/>
                    </a:gs>
                    <a:gs pos="21818">
                      <a:srgbClr val="353535"/>
                    </a:gs>
                  </a:gsLst>
                  <a:lin ang="5400000" scaled="0"/>
                </a:gradFill>
              </a:rPr>
              <a:t>a simple REST API call</a:t>
            </a:r>
          </a:p>
        </p:txBody>
      </p:sp>
      <p:sp>
        <p:nvSpPr>
          <p:cNvPr id="12" name="Rectangle 11">
            <a:extLst>
              <a:ext uri="{FF2B5EF4-FFF2-40B4-BE49-F238E27FC236}">
                <a16:creationId xmlns:a16="http://schemas.microsoft.com/office/drawing/2014/main" id="{84740C1E-A398-45A5-B798-2D9854EADEF9}"/>
              </a:ext>
            </a:extLst>
          </p:cNvPr>
          <p:cNvSpPr/>
          <p:nvPr/>
        </p:nvSpPr>
        <p:spPr>
          <a:xfrm>
            <a:off x="2608259" y="5232147"/>
            <a:ext cx="3706816" cy="1169551"/>
          </a:xfrm>
          <a:prstGeom prst="rect">
            <a:avLst/>
          </a:prstGeom>
        </p:spPr>
        <p:txBody>
          <a:bodyPr wrap="square">
            <a:spAutoFit/>
          </a:bodyPr>
          <a:lstStyle/>
          <a:p>
            <a:pPr algn="ctr"/>
            <a:r>
              <a:rPr lang="en-US" sz="1400" dirty="0">
                <a:gradFill>
                  <a:gsLst>
                    <a:gs pos="6364">
                      <a:srgbClr val="353535"/>
                    </a:gs>
                    <a:gs pos="21818">
                      <a:srgbClr val="353535"/>
                    </a:gs>
                  </a:gsLst>
                  <a:lin ang="5400000" scaled="0"/>
                </a:gradFill>
              </a:rPr>
              <a:t>Unified speech service for </a:t>
            </a:r>
            <a:r>
              <a:rPr lang="en-US" sz="1400" b="1" dirty="0">
                <a:gradFill>
                  <a:gsLst>
                    <a:gs pos="6364">
                      <a:srgbClr val="353535"/>
                    </a:gs>
                    <a:gs pos="21818">
                      <a:srgbClr val="353535"/>
                    </a:gs>
                  </a:gsLst>
                  <a:lin ang="5400000" scaled="0"/>
                </a:gradFill>
              </a:rPr>
              <a:t>speech-to-text </a:t>
            </a:r>
            <a:r>
              <a:rPr lang="en-US" sz="1400" dirty="0">
                <a:gradFill>
                  <a:gsLst>
                    <a:gs pos="6364">
                      <a:srgbClr val="353535"/>
                    </a:gs>
                    <a:gs pos="21818">
                      <a:srgbClr val="353535"/>
                    </a:gs>
                  </a:gsLst>
                  <a:lin ang="5400000" scaled="0"/>
                </a:gradFill>
              </a:rPr>
              <a:t>(general and custom speech models), </a:t>
            </a:r>
            <a:br>
              <a:rPr lang="en-US" sz="1400" dirty="0">
                <a:gradFill>
                  <a:gsLst>
                    <a:gs pos="6364">
                      <a:srgbClr val="353535"/>
                    </a:gs>
                    <a:gs pos="21818">
                      <a:srgbClr val="353535"/>
                    </a:gs>
                  </a:gsLst>
                  <a:lin ang="5400000" scaled="0"/>
                </a:gradFill>
              </a:rPr>
            </a:br>
            <a:r>
              <a:rPr lang="en-US" sz="1400" b="1" dirty="0">
                <a:gradFill>
                  <a:gsLst>
                    <a:gs pos="6364">
                      <a:srgbClr val="353535"/>
                    </a:gs>
                    <a:gs pos="21818">
                      <a:srgbClr val="353535"/>
                    </a:gs>
                  </a:gsLst>
                  <a:lin ang="5400000" scaled="0"/>
                </a:gradFill>
              </a:rPr>
              <a:t>text-to-speech </a:t>
            </a:r>
            <a:r>
              <a:rPr lang="en-US" sz="1400" dirty="0">
                <a:gradFill>
                  <a:gsLst>
                    <a:gs pos="6364">
                      <a:srgbClr val="353535"/>
                    </a:gs>
                    <a:gs pos="21818">
                      <a:srgbClr val="353535"/>
                    </a:gs>
                  </a:gsLst>
                  <a:lin ang="5400000" scaled="0"/>
                </a:gradFill>
              </a:rPr>
              <a:t>(general and custom </a:t>
            </a:r>
            <a:br>
              <a:rPr lang="en-US" sz="1400" dirty="0">
                <a:gradFill>
                  <a:gsLst>
                    <a:gs pos="6364">
                      <a:srgbClr val="353535"/>
                    </a:gs>
                    <a:gs pos="21818">
                      <a:srgbClr val="353535"/>
                    </a:gs>
                  </a:gsLst>
                  <a:lin ang="5400000" scaled="0"/>
                </a:gradFill>
              </a:rPr>
            </a:br>
            <a:r>
              <a:rPr lang="en-US" sz="1400" dirty="0">
                <a:gradFill>
                  <a:gsLst>
                    <a:gs pos="6364">
                      <a:srgbClr val="353535"/>
                    </a:gs>
                    <a:gs pos="21818">
                      <a:srgbClr val="353535"/>
                    </a:gs>
                  </a:gsLst>
                  <a:lin ang="5400000" scaled="0"/>
                </a:gradFill>
              </a:rPr>
              <a:t>voice models) and </a:t>
            </a:r>
            <a:r>
              <a:rPr lang="en-US" sz="1400" b="1" dirty="0">
                <a:gradFill>
                  <a:gsLst>
                    <a:gs pos="6364">
                      <a:srgbClr val="353535"/>
                    </a:gs>
                    <a:gs pos="21818">
                      <a:srgbClr val="353535"/>
                    </a:gs>
                  </a:gsLst>
                  <a:lin ang="5400000" scaled="0"/>
                </a:gradFill>
              </a:rPr>
              <a:t>speech translation </a:t>
            </a:r>
            <a:br>
              <a:rPr lang="en-US" sz="1400" b="1" dirty="0">
                <a:gradFill>
                  <a:gsLst>
                    <a:gs pos="6364">
                      <a:srgbClr val="353535"/>
                    </a:gs>
                    <a:gs pos="21818">
                      <a:srgbClr val="353535"/>
                    </a:gs>
                  </a:gsLst>
                  <a:lin ang="5400000" scaled="0"/>
                </a:gradFill>
              </a:rPr>
            </a:br>
            <a:r>
              <a:rPr lang="en-US" sz="1400" dirty="0">
                <a:gradFill>
                  <a:gsLst>
                    <a:gs pos="6364">
                      <a:srgbClr val="353535"/>
                    </a:gs>
                    <a:gs pos="21818">
                      <a:srgbClr val="353535"/>
                    </a:gs>
                  </a:gsLst>
                  <a:lin ang="5400000" scaled="0"/>
                </a:gradFill>
              </a:rPr>
              <a:t>(general and custom translator)</a:t>
            </a:r>
          </a:p>
        </p:txBody>
      </p:sp>
      <p:grpSp>
        <p:nvGrpSpPr>
          <p:cNvPr id="38" name="Group 37">
            <a:extLst>
              <a:ext uri="{FF2B5EF4-FFF2-40B4-BE49-F238E27FC236}">
                <a16:creationId xmlns:a16="http://schemas.microsoft.com/office/drawing/2014/main" id="{739B90FC-FA38-4E37-BE03-4F0526F7E4D3}"/>
              </a:ext>
            </a:extLst>
          </p:cNvPr>
          <p:cNvGrpSpPr>
            <a:grpSpLocks noChangeAspect="1"/>
          </p:cNvGrpSpPr>
          <p:nvPr/>
        </p:nvGrpSpPr>
        <p:grpSpPr bwMode="auto">
          <a:xfrm>
            <a:off x="4127239" y="4095053"/>
            <a:ext cx="668857" cy="572385"/>
            <a:chOff x="1" y="3"/>
            <a:chExt cx="2697" cy="2308"/>
          </a:xfrm>
          <a:solidFill>
            <a:srgbClr val="047CDA"/>
          </a:solidFill>
        </p:grpSpPr>
        <p:sp>
          <p:nvSpPr>
            <p:cNvPr id="39" name="Freeform 5">
              <a:extLst>
                <a:ext uri="{FF2B5EF4-FFF2-40B4-BE49-F238E27FC236}">
                  <a16:creationId xmlns:a16="http://schemas.microsoft.com/office/drawing/2014/main" id="{393783A0-AEBE-43E6-A9E3-37F2BEFFFD45}"/>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6">
              <a:extLst>
                <a:ext uri="{FF2B5EF4-FFF2-40B4-BE49-F238E27FC236}">
                  <a16:creationId xmlns:a16="http://schemas.microsoft.com/office/drawing/2014/main" id="{98357F8F-1B20-4FD2-80A8-53375BE3D67A}"/>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6960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63" presetClass="path" presetSubtype="0" decel="100000" fill="hold" nodeType="withEffect">
                                  <p:stCondLst>
                                    <p:cond delay="0"/>
                                  </p:stCondLst>
                                  <p:childTnLst>
                                    <p:animMotion origin="layout" path="M -0.02617 0 L -4.79167E-6 0 " pathEditMode="relative" rAng="0" ptsTypes="AA">
                                      <p:cBhvr>
                                        <p:cTn id="9" dur="500" fill="hold"/>
                                        <p:tgtEl>
                                          <p:spTgt spid="20"/>
                                        </p:tgtEl>
                                        <p:attrNameLst>
                                          <p:attrName>ppt_x</p:attrName>
                                          <p:attrName>ppt_y</p:attrName>
                                        </p:attrNameLst>
                                      </p:cBhvr>
                                      <p:rCtr x="1302" y="0"/>
                                    </p:animMotion>
                                  </p:childTnLst>
                                </p:cTn>
                              </p:par>
                              <p:par>
                                <p:cTn id="10" presetID="10" presetClass="entr" presetSubtype="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63" presetClass="path" presetSubtype="0" decel="100000" fill="hold" grpId="1" nodeType="withEffect">
                                  <p:stCondLst>
                                    <p:cond delay="0"/>
                                  </p:stCondLst>
                                  <p:childTnLst>
                                    <p:animMotion origin="layout" path="M -0.02617 0 L -4.79167E-6 0 " pathEditMode="relative" rAng="0" ptsTypes="AA">
                                      <p:cBhvr>
                                        <p:cTn id="14" dur="500" fill="hold"/>
                                        <p:tgtEl>
                                          <p:spTgt spid="26"/>
                                        </p:tgtEl>
                                        <p:attrNameLst>
                                          <p:attrName>ppt_x</p:attrName>
                                          <p:attrName>ppt_y</p:attrName>
                                        </p:attrNameLst>
                                      </p:cBhvr>
                                      <p:rCtr x="1302" y="0"/>
                                    </p:animMotion>
                                  </p:childTnLst>
                                </p:cTn>
                              </p:par>
                              <p:par>
                                <p:cTn id="15" presetID="53" presetClass="entr" presetSubtype="16" fill="hold" nodeType="withEffect">
                                  <p:stCondLst>
                                    <p:cond delay="0"/>
                                  </p:stCondLst>
                                  <p:childTnLst>
                                    <p:set>
                                      <p:cBhvr>
                                        <p:cTn id="16" dur="1" fill="hold">
                                          <p:stCondLst>
                                            <p:cond delay="0"/>
                                          </p:stCondLst>
                                        </p:cTn>
                                        <p:tgtEl>
                                          <p:spTgt spid="29"/>
                                        </p:tgtEl>
                                        <p:attrNameLst>
                                          <p:attrName>style.visibility</p:attrName>
                                        </p:attrNameLst>
                                      </p:cBhvr>
                                      <p:to>
                                        <p:strVal val="visible"/>
                                      </p:to>
                                    </p:set>
                                    <p:anim calcmode="lin" valueType="num">
                                      <p:cBhvr>
                                        <p:cTn id="17" dur="500" fill="hold"/>
                                        <p:tgtEl>
                                          <p:spTgt spid="29"/>
                                        </p:tgtEl>
                                        <p:attrNameLst>
                                          <p:attrName>ppt_w</p:attrName>
                                        </p:attrNameLst>
                                      </p:cBhvr>
                                      <p:tavLst>
                                        <p:tav tm="0">
                                          <p:val>
                                            <p:fltVal val="0"/>
                                          </p:val>
                                        </p:tav>
                                        <p:tav tm="100000">
                                          <p:val>
                                            <p:strVal val="#ppt_w"/>
                                          </p:val>
                                        </p:tav>
                                      </p:tavLst>
                                    </p:anim>
                                    <p:anim calcmode="lin" valueType="num">
                                      <p:cBhvr>
                                        <p:cTn id="18" dur="500" fill="hold"/>
                                        <p:tgtEl>
                                          <p:spTgt spid="29"/>
                                        </p:tgtEl>
                                        <p:attrNameLst>
                                          <p:attrName>ppt_h</p:attrName>
                                        </p:attrNameLst>
                                      </p:cBhvr>
                                      <p:tavLst>
                                        <p:tav tm="0">
                                          <p:val>
                                            <p:fltVal val="0"/>
                                          </p:val>
                                        </p:tav>
                                        <p:tav tm="100000">
                                          <p:val>
                                            <p:strVal val="#ppt_h"/>
                                          </p:val>
                                        </p:tav>
                                      </p:tavLst>
                                    </p:anim>
                                    <p:animEffect transition="in" filter="fade">
                                      <p:cBhvr>
                                        <p:cTn id="19" dur="500"/>
                                        <p:tgtEl>
                                          <p:spTgt spid="29"/>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5"/>
                                        </p:tgtEl>
                                        <p:attrNameLst>
                                          <p:attrName>style.visibility</p:attrName>
                                        </p:attrNameLst>
                                      </p:cBhvr>
                                      <p:to>
                                        <p:strVal val="visible"/>
                                      </p:to>
                                    </p:set>
                                    <p:anim calcmode="lin" valueType="num">
                                      <p:cBhvr>
                                        <p:cTn id="22" dur="500" fill="hold"/>
                                        <p:tgtEl>
                                          <p:spTgt spid="35"/>
                                        </p:tgtEl>
                                        <p:attrNameLst>
                                          <p:attrName>ppt_w</p:attrName>
                                        </p:attrNameLst>
                                      </p:cBhvr>
                                      <p:tavLst>
                                        <p:tav tm="0">
                                          <p:val>
                                            <p:fltVal val="0"/>
                                          </p:val>
                                        </p:tav>
                                        <p:tav tm="100000">
                                          <p:val>
                                            <p:strVal val="#ppt_w"/>
                                          </p:val>
                                        </p:tav>
                                      </p:tavLst>
                                    </p:anim>
                                    <p:anim calcmode="lin" valueType="num">
                                      <p:cBhvr>
                                        <p:cTn id="23" dur="500" fill="hold"/>
                                        <p:tgtEl>
                                          <p:spTgt spid="35"/>
                                        </p:tgtEl>
                                        <p:attrNameLst>
                                          <p:attrName>ppt_h</p:attrName>
                                        </p:attrNameLst>
                                      </p:cBhvr>
                                      <p:tavLst>
                                        <p:tav tm="0">
                                          <p:val>
                                            <p:fltVal val="0"/>
                                          </p:val>
                                        </p:tav>
                                        <p:tav tm="100000">
                                          <p:val>
                                            <p:strVal val="#ppt_h"/>
                                          </p:val>
                                        </p:tav>
                                      </p:tavLst>
                                    </p:anim>
                                    <p:animEffect transition="in" filter="fade">
                                      <p:cBhvr>
                                        <p:cTn id="24" dur="500"/>
                                        <p:tgtEl>
                                          <p:spTgt spid="35"/>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anim calcmode="lin" valueType="num">
                                      <p:cBhvr>
                                        <p:cTn id="27" dur="500" fill="hold"/>
                                        <p:tgtEl>
                                          <p:spTgt spid="36"/>
                                        </p:tgtEl>
                                        <p:attrNameLst>
                                          <p:attrName>ppt_w</p:attrName>
                                        </p:attrNameLst>
                                      </p:cBhvr>
                                      <p:tavLst>
                                        <p:tav tm="0">
                                          <p:val>
                                            <p:fltVal val="0"/>
                                          </p:val>
                                        </p:tav>
                                        <p:tav tm="100000">
                                          <p:val>
                                            <p:strVal val="#ppt_w"/>
                                          </p:val>
                                        </p:tav>
                                      </p:tavLst>
                                    </p:anim>
                                    <p:anim calcmode="lin" valueType="num">
                                      <p:cBhvr>
                                        <p:cTn id="28" dur="500" fill="hold"/>
                                        <p:tgtEl>
                                          <p:spTgt spid="36"/>
                                        </p:tgtEl>
                                        <p:attrNameLst>
                                          <p:attrName>ppt_h</p:attrName>
                                        </p:attrNameLst>
                                      </p:cBhvr>
                                      <p:tavLst>
                                        <p:tav tm="0">
                                          <p:val>
                                            <p:fltVal val="0"/>
                                          </p:val>
                                        </p:tav>
                                        <p:tav tm="100000">
                                          <p:val>
                                            <p:strVal val="#ppt_h"/>
                                          </p:val>
                                        </p:tav>
                                      </p:tavLst>
                                    </p:anim>
                                    <p:animEffect transition="in" filter="fade">
                                      <p:cBhvr>
                                        <p:cTn id="29" dur="500"/>
                                        <p:tgtEl>
                                          <p:spTgt spid="36"/>
                                        </p:tgtEl>
                                      </p:cBhvr>
                                    </p:animEffect>
                                  </p:childTnLst>
                                </p:cTn>
                              </p:par>
                              <p:par>
                                <p:cTn id="30" presetID="53" presetClass="entr" presetSubtype="16" fill="hold" nodeType="withEffect">
                                  <p:stCondLst>
                                    <p:cond delay="0"/>
                                  </p:stCondLst>
                                  <p:childTnLst>
                                    <p:set>
                                      <p:cBhvr>
                                        <p:cTn id="31" dur="1" fill="hold">
                                          <p:stCondLst>
                                            <p:cond delay="0"/>
                                          </p:stCondLst>
                                        </p:cTn>
                                        <p:tgtEl>
                                          <p:spTgt spid="38"/>
                                        </p:tgtEl>
                                        <p:attrNameLst>
                                          <p:attrName>style.visibility</p:attrName>
                                        </p:attrNameLst>
                                      </p:cBhvr>
                                      <p:to>
                                        <p:strVal val="visible"/>
                                      </p:to>
                                    </p:set>
                                    <p:anim calcmode="lin" valueType="num">
                                      <p:cBhvr>
                                        <p:cTn id="32" dur="500" fill="hold"/>
                                        <p:tgtEl>
                                          <p:spTgt spid="38"/>
                                        </p:tgtEl>
                                        <p:attrNameLst>
                                          <p:attrName>ppt_w</p:attrName>
                                        </p:attrNameLst>
                                      </p:cBhvr>
                                      <p:tavLst>
                                        <p:tav tm="0">
                                          <p:val>
                                            <p:fltVal val="0"/>
                                          </p:val>
                                        </p:tav>
                                        <p:tav tm="100000">
                                          <p:val>
                                            <p:strVal val="#ppt_w"/>
                                          </p:val>
                                        </p:tav>
                                      </p:tavLst>
                                    </p:anim>
                                    <p:anim calcmode="lin" valueType="num">
                                      <p:cBhvr>
                                        <p:cTn id="33" dur="500" fill="hold"/>
                                        <p:tgtEl>
                                          <p:spTgt spid="38"/>
                                        </p:tgtEl>
                                        <p:attrNameLst>
                                          <p:attrName>ppt_h</p:attrName>
                                        </p:attrNameLst>
                                      </p:cBhvr>
                                      <p:tavLst>
                                        <p:tav tm="0">
                                          <p:val>
                                            <p:fltVal val="0"/>
                                          </p:val>
                                        </p:tav>
                                        <p:tav tm="100000">
                                          <p:val>
                                            <p:strVal val="#ppt_h"/>
                                          </p:val>
                                        </p:tav>
                                      </p:tavLst>
                                    </p:anim>
                                    <p:animEffect transition="in" filter="fade">
                                      <p:cBhvr>
                                        <p:cTn id="34" dur="500"/>
                                        <p:tgtEl>
                                          <p:spTgt spid="38"/>
                                        </p:tgtEl>
                                      </p:cBhvr>
                                    </p:animEffect>
                                  </p:childTnLst>
                                </p:cTn>
                              </p:par>
                              <p:par>
                                <p:cTn id="35" presetID="53" presetClass="entr" presetSubtype="16" fill="hold" nodeType="withEffect">
                                  <p:stCondLst>
                                    <p:cond delay="0"/>
                                  </p:stCondLst>
                                  <p:childTnLst>
                                    <p:set>
                                      <p:cBhvr>
                                        <p:cTn id="36" dur="1" fill="hold">
                                          <p:stCondLst>
                                            <p:cond delay="0"/>
                                          </p:stCondLst>
                                        </p:cTn>
                                        <p:tgtEl>
                                          <p:spTgt spid="30"/>
                                        </p:tgtEl>
                                        <p:attrNameLst>
                                          <p:attrName>style.visibility</p:attrName>
                                        </p:attrNameLst>
                                      </p:cBhvr>
                                      <p:to>
                                        <p:strVal val="visible"/>
                                      </p:to>
                                    </p:set>
                                    <p:anim calcmode="lin" valueType="num">
                                      <p:cBhvr>
                                        <p:cTn id="37" dur="500" fill="hold"/>
                                        <p:tgtEl>
                                          <p:spTgt spid="30"/>
                                        </p:tgtEl>
                                        <p:attrNameLst>
                                          <p:attrName>ppt_w</p:attrName>
                                        </p:attrNameLst>
                                      </p:cBhvr>
                                      <p:tavLst>
                                        <p:tav tm="0">
                                          <p:val>
                                            <p:fltVal val="0"/>
                                          </p:val>
                                        </p:tav>
                                        <p:tav tm="100000">
                                          <p:val>
                                            <p:strVal val="#ppt_w"/>
                                          </p:val>
                                        </p:tav>
                                      </p:tavLst>
                                    </p:anim>
                                    <p:anim calcmode="lin" valueType="num">
                                      <p:cBhvr>
                                        <p:cTn id="38" dur="500" fill="hold"/>
                                        <p:tgtEl>
                                          <p:spTgt spid="30"/>
                                        </p:tgtEl>
                                        <p:attrNameLst>
                                          <p:attrName>ppt_h</p:attrName>
                                        </p:attrNameLst>
                                      </p:cBhvr>
                                      <p:tavLst>
                                        <p:tav tm="0">
                                          <p:val>
                                            <p:fltVal val="0"/>
                                          </p:val>
                                        </p:tav>
                                        <p:tav tm="100000">
                                          <p:val>
                                            <p:strVal val="#ppt_h"/>
                                          </p:val>
                                        </p:tav>
                                      </p:tavLst>
                                    </p:anim>
                                    <p:animEffect transition="in" filter="fade">
                                      <p:cBhvr>
                                        <p:cTn id="39" dur="500"/>
                                        <p:tgtEl>
                                          <p:spTgt spid="30"/>
                                        </p:tgtEl>
                                      </p:cBhvr>
                                    </p:animEffect>
                                  </p:childTnLst>
                                </p:cTn>
                              </p:par>
                            </p:childTnLst>
                          </p:cTn>
                        </p:par>
                        <p:par>
                          <p:cTn id="40" fill="hold">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fade">
                                      <p:cBhvr>
                                        <p:cTn id="46" dur="500"/>
                                        <p:tgtEl>
                                          <p:spTgt spid="2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1"/>
                                        </p:tgtEl>
                                        <p:attrNameLst>
                                          <p:attrName>style.visibility</p:attrName>
                                        </p:attrNameLst>
                                      </p:cBhvr>
                                      <p:to>
                                        <p:strVal val="visible"/>
                                      </p:to>
                                    </p:set>
                                    <p:animEffect transition="in" filter="fade">
                                      <p:cBhvr>
                                        <p:cTn id="52" dur="500"/>
                                        <p:tgtEl>
                                          <p:spTgt spid="3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7"/>
                                        </p:tgtEl>
                                        <p:attrNameLst>
                                          <p:attrName>style.visibility</p:attrName>
                                        </p:attrNameLst>
                                      </p:cBhvr>
                                      <p:to>
                                        <p:strVal val="visible"/>
                                      </p:to>
                                    </p:set>
                                    <p:animEffect transition="in" filter="fade">
                                      <p:cBhvr>
                                        <p:cTn id="55" dur="500"/>
                                        <p:tgtEl>
                                          <p:spTgt spid="3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fade">
                                      <p:cBhvr>
                                        <p:cTn id="58" dur="500"/>
                                        <p:tgtEl>
                                          <p:spTgt spid="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1"/>
                                        </p:tgtEl>
                                        <p:attrNameLst>
                                          <p:attrName>style.visibility</p:attrName>
                                        </p:attrNameLst>
                                      </p:cBhvr>
                                      <p:to>
                                        <p:strVal val="visible"/>
                                      </p:to>
                                    </p:set>
                                    <p:animEffect transition="in" filter="fade">
                                      <p:cBhvr>
                                        <p:cTn id="61" dur="500"/>
                                        <p:tgtEl>
                                          <p:spTgt spid="1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0"/>
                                        </p:tgtEl>
                                        <p:attrNameLst>
                                          <p:attrName>style.visibility</p:attrName>
                                        </p:attrNameLst>
                                      </p:cBhvr>
                                      <p:to>
                                        <p:strVal val="visible"/>
                                      </p:to>
                                    </p:set>
                                    <p:animEffect transition="in" filter="fade">
                                      <p:cBhvr>
                                        <p:cTn id="64" dur="500"/>
                                        <p:tgtEl>
                                          <p:spTgt spid="1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fade">
                                      <p:cBhvr>
                                        <p:cTn id="67" dur="500"/>
                                        <p:tgtEl>
                                          <p:spTgt spid="12"/>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9"/>
                                        </p:tgtEl>
                                        <p:attrNameLst>
                                          <p:attrName>style.visibility</p:attrName>
                                        </p:attrNameLst>
                                      </p:cBhvr>
                                      <p:to>
                                        <p:strVal val="visible"/>
                                      </p:to>
                                    </p:set>
                                    <p:animEffect transition="in" filter="fade">
                                      <p:cBhvr>
                                        <p:cTn id="7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6" grpId="1" animBg="1"/>
      <p:bldP spid="27" grpId="0"/>
      <p:bldP spid="35" grpId="0" animBg="1"/>
      <p:bldP spid="36" grpId="0" animBg="1"/>
      <p:bldP spid="4" grpId="0"/>
      <p:bldP spid="25" grpId="0"/>
      <p:bldP spid="28" grpId="0"/>
      <p:bldP spid="31" grpId="0"/>
      <p:bldP spid="37" grpId="0"/>
      <p:bldP spid="9" grpId="0"/>
      <p:bldP spid="10" grpId="0"/>
      <p:bldP spid="11" grpId="0"/>
      <p:bldP spid="1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a:extLst>
              <a:ext uri="{FF2B5EF4-FFF2-40B4-BE49-F238E27FC236}">
                <a16:creationId xmlns:a16="http://schemas.microsoft.com/office/drawing/2014/main" id="{A5529E76-B09F-4CA7-903C-630FEFBC1FD1}"/>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Language</a:t>
            </a:r>
          </a:p>
        </p:txBody>
      </p:sp>
      <p:sp>
        <p:nvSpPr>
          <p:cNvPr id="45" name="Rectangle 44"/>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9" name="Group 48">
            <a:extLst>
              <a:ext uri="{FF2B5EF4-FFF2-40B4-BE49-F238E27FC236}">
                <a16:creationId xmlns:a16="http://schemas.microsoft.com/office/drawing/2014/main" id="{81ADF90D-BC73-4425-B6E7-177F7378A15E}"/>
              </a:ext>
            </a:extLst>
          </p:cNvPr>
          <p:cNvGrpSpPr/>
          <p:nvPr/>
        </p:nvGrpSpPr>
        <p:grpSpPr>
          <a:xfrm>
            <a:off x="864" y="254613"/>
            <a:ext cx="1188839" cy="956984"/>
            <a:chOff x="864" y="254613"/>
            <a:chExt cx="1188839" cy="956984"/>
          </a:xfrm>
        </p:grpSpPr>
        <p:sp>
          <p:nvSpPr>
            <p:cNvPr id="43" name="Rectangle 42"/>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1" name="Group 34">
              <a:extLst>
                <a:ext uri="{FF2B5EF4-FFF2-40B4-BE49-F238E27FC236}">
                  <a16:creationId xmlns:a16="http://schemas.microsoft.com/office/drawing/2014/main" id="{27BA7B74-368D-41B0-955E-404F28CA4FB2}"/>
                </a:ext>
              </a:extLst>
            </p:cNvPr>
            <p:cNvGrpSpPr>
              <a:grpSpLocks noChangeAspect="1"/>
            </p:cNvGrpSpPr>
            <p:nvPr/>
          </p:nvGrpSpPr>
          <p:grpSpPr bwMode="auto">
            <a:xfrm>
              <a:off x="272986" y="536618"/>
              <a:ext cx="634006" cy="415489"/>
              <a:chOff x="671" y="1179"/>
              <a:chExt cx="2884" cy="1890"/>
            </a:xfrm>
            <a:solidFill>
              <a:schemeClr val="bg1"/>
            </a:solidFill>
          </p:grpSpPr>
          <p:sp>
            <p:nvSpPr>
              <p:cNvPr id="62" name="Freeform 36">
                <a:extLst>
                  <a:ext uri="{FF2B5EF4-FFF2-40B4-BE49-F238E27FC236}">
                    <a16:creationId xmlns:a16="http://schemas.microsoft.com/office/drawing/2014/main" id="{0A49481B-889A-485A-87D1-E5D00CF661D5}"/>
                  </a:ext>
                </a:extLst>
              </p:cNvPr>
              <p:cNvSpPr>
                <a:spLocks noEditPoints="1"/>
              </p:cNvSpPr>
              <p:nvPr/>
            </p:nvSpPr>
            <p:spPr bwMode="auto">
              <a:xfrm>
                <a:off x="2171" y="1179"/>
                <a:ext cx="1384" cy="1890"/>
              </a:xfrm>
              <a:custGeom>
                <a:avLst/>
                <a:gdLst>
                  <a:gd name="T0" fmla="*/ 167 w 666"/>
                  <a:gd name="T1" fmla="*/ 781 h 908"/>
                  <a:gd name="T2" fmla="*/ 172 w 666"/>
                  <a:gd name="T3" fmla="*/ 814 h 908"/>
                  <a:gd name="T4" fmla="*/ 479 w 666"/>
                  <a:gd name="T5" fmla="*/ 639 h 908"/>
                  <a:gd name="T6" fmla="*/ 565 w 666"/>
                  <a:gd name="T7" fmla="*/ 321 h 908"/>
                  <a:gd name="T8" fmla="*/ 287 w 666"/>
                  <a:gd name="T9" fmla="*/ 106 h 908"/>
                  <a:gd name="T10" fmla="*/ 110 w 666"/>
                  <a:gd name="T11" fmla="*/ 351 h 908"/>
                  <a:gd name="T12" fmla="*/ 310 w 666"/>
                  <a:gd name="T13" fmla="*/ 533 h 908"/>
                  <a:gd name="T14" fmla="*/ 363 w 666"/>
                  <a:gd name="T15" fmla="*/ 535 h 908"/>
                  <a:gd name="T16" fmla="*/ 350 w 666"/>
                  <a:gd name="T17" fmla="*/ 586 h 908"/>
                  <a:gd name="T18" fmla="*/ 167 w 666"/>
                  <a:gd name="T19" fmla="*/ 781 h 908"/>
                  <a:gd name="T20" fmla="*/ 107 w 666"/>
                  <a:gd name="T21" fmla="*/ 908 h 908"/>
                  <a:gd name="T22" fmla="*/ 98 w 666"/>
                  <a:gd name="T23" fmla="*/ 873 h 908"/>
                  <a:gd name="T24" fmla="*/ 78 w 666"/>
                  <a:gd name="T25" fmla="*/ 762 h 908"/>
                  <a:gd name="T26" fmla="*/ 74 w 666"/>
                  <a:gd name="T27" fmla="*/ 730 h 908"/>
                  <a:gd name="T28" fmla="*/ 103 w 666"/>
                  <a:gd name="T29" fmla="*/ 718 h 908"/>
                  <a:gd name="T30" fmla="*/ 246 w 666"/>
                  <a:gd name="T31" fmla="*/ 610 h 908"/>
                  <a:gd name="T32" fmla="*/ 26 w 666"/>
                  <a:gd name="T33" fmla="*/ 364 h 908"/>
                  <a:gd name="T34" fmla="*/ 274 w 666"/>
                  <a:gd name="T35" fmla="*/ 22 h 908"/>
                  <a:gd name="T36" fmla="*/ 649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7" y="781"/>
                    </a:moveTo>
                    <a:cubicBezTo>
                      <a:pt x="168" y="791"/>
                      <a:pt x="170" y="803"/>
                      <a:pt x="172" y="814"/>
                    </a:cubicBezTo>
                    <a:cubicBezTo>
                      <a:pt x="299" y="792"/>
                      <a:pt x="407" y="730"/>
                      <a:pt x="479" y="639"/>
                    </a:cubicBezTo>
                    <a:cubicBezTo>
                      <a:pt x="549" y="549"/>
                      <a:pt x="579" y="439"/>
                      <a:pt x="565" y="321"/>
                    </a:cubicBezTo>
                    <a:cubicBezTo>
                      <a:pt x="532" y="149"/>
                      <a:pt x="402" y="89"/>
                      <a:pt x="287" y="106"/>
                    </a:cubicBezTo>
                    <a:cubicBezTo>
                      <a:pt x="171" y="125"/>
                      <a:pt x="92" y="235"/>
                      <a:pt x="110" y="351"/>
                    </a:cubicBezTo>
                    <a:cubicBezTo>
                      <a:pt x="125" y="453"/>
                      <a:pt x="209" y="530"/>
                      <a:pt x="310" y="533"/>
                    </a:cubicBezTo>
                    <a:cubicBezTo>
                      <a:pt x="363" y="535"/>
                      <a:pt x="363" y="535"/>
                      <a:pt x="363" y="535"/>
                    </a:cubicBezTo>
                    <a:cubicBezTo>
                      <a:pt x="350" y="586"/>
                      <a:pt x="350" y="586"/>
                      <a:pt x="350" y="586"/>
                    </a:cubicBezTo>
                    <a:cubicBezTo>
                      <a:pt x="325" y="685"/>
                      <a:pt x="219" y="753"/>
                      <a:pt x="167" y="781"/>
                    </a:cubicBezTo>
                    <a:close/>
                    <a:moveTo>
                      <a:pt x="107" y="908"/>
                    </a:moveTo>
                    <a:cubicBezTo>
                      <a:pt x="98" y="873"/>
                      <a:pt x="98" y="873"/>
                      <a:pt x="98" y="873"/>
                    </a:cubicBezTo>
                    <a:cubicBezTo>
                      <a:pt x="87" y="834"/>
                      <a:pt x="79" y="765"/>
                      <a:pt x="78" y="762"/>
                    </a:cubicBezTo>
                    <a:cubicBezTo>
                      <a:pt x="74" y="730"/>
                      <a:pt x="74" y="730"/>
                      <a:pt x="74" y="730"/>
                    </a:cubicBezTo>
                    <a:cubicBezTo>
                      <a:pt x="103" y="718"/>
                      <a:pt x="103" y="718"/>
                      <a:pt x="103" y="718"/>
                    </a:cubicBezTo>
                    <a:cubicBezTo>
                      <a:pt x="134" y="704"/>
                      <a:pt x="208" y="663"/>
                      <a:pt x="246" y="610"/>
                    </a:cubicBezTo>
                    <a:cubicBezTo>
                      <a:pt x="132" y="581"/>
                      <a:pt x="44" y="485"/>
                      <a:pt x="26" y="364"/>
                    </a:cubicBezTo>
                    <a:cubicBezTo>
                      <a:pt x="0" y="202"/>
                      <a:pt x="111" y="48"/>
                      <a:pt x="274" y="22"/>
                    </a:cubicBezTo>
                    <a:cubicBezTo>
                      <a:pt x="425" y="0"/>
                      <a:pt x="606" y="80"/>
                      <a:pt x="649" y="306"/>
                    </a:cubicBezTo>
                    <a:cubicBezTo>
                      <a:pt x="649" y="309"/>
                      <a:pt x="649" y="309"/>
                      <a:pt x="649" y="309"/>
                    </a:cubicBezTo>
                    <a:cubicBezTo>
                      <a:pt x="666" y="449"/>
                      <a:pt x="630" y="585"/>
                      <a:pt x="545" y="692"/>
                    </a:cubicBezTo>
                    <a:cubicBezTo>
                      <a:pt x="452" y="810"/>
                      <a:pt x="310"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7">
                <a:extLst>
                  <a:ext uri="{FF2B5EF4-FFF2-40B4-BE49-F238E27FC236}">
                    <a16:creationId xmlns:a16="http://schemas.microsoft.com/office/drawing/2014/main" id="{51F24768-9835-4147-A4F6-56C1BDFB7A90}"/>
                  </a:ext>
                </a:extLst>
              </p:cNvPr>
              <p:cNvSpPr>
                <a:spLocks noEditPoints="1"/>
              </p:cNvSpPr>
              <p:nvPr/>
            </p:nvSpPr>
            <p:spPr bwMode="auto">
              <a:xfrm>
                <a:off x="671" y="1179"/>
                <a:ext cx="1384" cy="1890"/>
              </a:xfrm>
              <a:custGeom>
                <a:avLst/>
                <a:gdLst>
                  <a:gd name="T0" fmla="*/ 166 w 666"/>
                  <a:gd name="T1" fmla="*/ 781 h 908"/>
                  <a:gd name="T2" fmla="*/ 171 w 666"/>
                  <a:gd name="T3" fmla="*/ 814 h 908"/>
                  <a:gd name="T4" fmla="*/ 478 w 666"/>
                  <a:gd name="T5" fmla="*/ 639 h 908"/>
                  <a:gd name="T6" fmla="*/ 564 w 666"/>
                  <a:gd name="T7" fmla="*/ 321 h 908"/>
                  <a:gd name="T8" fmla="*/ 286 w 666"/>
                  <a:gd name="T9" fmla="*/ 106 h 908"/>
                  <a:gd name="T10" fmla="*/ 110 w 666"/>
                  <a:gd name="T11" fmla="*/ 351 h 908"/>
                  <a:gd name="T12" fmla="*/ 310 w 666"/>
                  <a:gd name="T13" fmla="*/ 533 h 908"/>
                  <a:gd name="T14" fmla="*/ 362 w 666"/>
                  <a:gd name="T15" fmla="*/ 535 h 908"/>
                  <a:gd name="T16" fmla="*/ 349 w 666"/>
                  <a:gd name="T17" fmla="*/ 586 h 908"/>
                  <a:gd name="T18" fmla="*/ 166 w 666"/>
                  <a:gd name="T19" fmla="*/ 781 h 908"/>
                  <a:gd name="T20" fmla="*/ 107 w 666"/>
                  <a:gd name="T21" fmla="*/ 908 h 908"/>
                  <a:gd name="T22" fmla="*/ 97 w 666"/>
                  <a:gd name="T23" fmla="*/ 873 h 908"/>
                  <a:gd name="T24" fmla="*/ 78 w 666"/>
                  <a:gd name="T25" fmla="*/ 762 h 908"/>
                  <a:gd name="T26" fmla="*/ 74 w 666"/>
                  <a:gd name="T27" fmla="*/ 730 h 908"/>
                  <a:gd name="T28" fmla="*/ 103 w 666"/>
                  <a:gd name="T29" fmla="*/ 718 h 908"/>
                  <a:gd name="T30" fmla="*/ 245 w 666"/>
                  <a:gd name="T31" fmla="*/ 610 h 908"/>
                  <a:gd name="T32" fmla="*/ 26 w 666"/>
                  <a:gd name="T33" fmla="*/ 364 h 908"/>
                  <a:gd name="T34" fmla="*/ 273 w 666"/>
                  <a:gd name="T35" fmla="*/ 22 h 908"/>
                  <a:gd name="T36" fmla="*/ 648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6" y="781"/>
                    </a:moveTo>
                    <a:cubicBezTo>
                      <a:pt x="168" y="791"/>
                      <a:pt x="169" y="803"/>
                      <a:pt x="171" y="814"/>
                    </a:cubicBezTo>
                    <a:cubicBezTo>
                      <a:pt x="298" y="792"/>
                      <a:pt x="406" y="730"/>
                      <a:pt x="478" y="639"/>
                    </a:cubicBezTo>
                    <a:cubicBezTo>
                      <a:pt x="549" y="549"/>
                      <a:pt x="579" y="439"/>
                      <a:pt x="564" y="321"/>
                    </a:cubicBezTo>
                    <a:cubicBezTo>
                      <a:pt x="532" y="149"/>
                      <a:pt x="401" y="89"/>
                      <a:pt x="286" y="106"/>
                    </a:cubicBezTo>
                    <a:cubicBezTo>
                      <a:pt x="171" y="125"/>
                      <a:pt x="91" y="235"/>
                      <a:pt x="110" y="351"/>
                    </a:cubicBezTo>
                    <a:cubicBezTo>
                      <a:pt x="125" y="453"/>
                      <a:pt x="209" y="530"/>
                      <a:pt x="310" y="533"/>
                    </a:cubicBezTo>
                    <a:cubicBezTo>
                      <a:pt x="362" y="535"/>
                      <a:pt x="362" y="535"/>
                      <a:pt x="362" y="535"/>
                    </a:cubicBezTo>
                    <a:cubicBezTo>
                      <a:pt x="349" y="586"/>
                      <a:pt x="349" y="586"/>
                      <a:pt x="349" y="586"/>
                    </a:cubicBezTo>
                    <a:cubicBezTo>
                      <a:pt x="324" y="685"/>
                      <a:pt x="218" y="753"/>
                      <a:pt x="166" y="781"/>
                    </a:cubicBezTo>
                    <a:close/>
                    <a:moveTo>
                      <a:pt x="107" y="908"/>
                    </a:moveTo>
                    <a:cubicBezTo>
                      <a:pt x="97" y="873"/>
                      <a:pt x="97" y="873"/>
                      <a:pt x="97" y="873"/>
                    </a:cubicBezTo>
                    <a:cubicBezTo>
                      <a:pt x="87" y="834"/>
                      <a:pt x="78" y="765"/>
                      <a:pt x="78" y="762"/>
                    </a:cubicBezTo>
                    <a:cubicBezTo>
                      <a:pt x="74" y="730"/>
                      <a:pt x="74" y="730"/>
                      <a:pt x="74" y="730"/>
                    </a:cubicBezTo>
                    <a:cubicBezTo>
                      <a:pt x="103" y="718"/>
                      <a:pt x="103" y="718"/>
                      <a:pt x="103" y="718"/>
                    </a:cubicBezTo>
                    <a:cubicBezTo>
                      <a:pt x="134" y="704"/>
                      <a:pt x="207" y="663"/>
                      <a:pt x="245" y="610"/>
                    </a:cubicBezTo>
                    <a:cubicBezTo>
                      <a:pt x="132" y="581"/>
                      <a:pt x="43" y="485"/>
                      <a:pt x="26" y="364"/>
                    </a:cubicBezTo>
                    <a:cubicBezTo>
                      <a:pt x="0" y="202"/>
                      <a:pt x="111" y="48"/>
                      <a:pt x="273" y="22"/>
                    </a:cubicBezTo>
                    <a:cubicBezTo>
                      <a:pt x="424" y="0"/>
                      <a:pt x="606" y="80"/>
                      <a:pt x="648" y="306"/>
                    </a:cubicBezTo>
                    <a:cubicBezTo>
                      <a:pt x="649" y="309"/>
                      <a:pt x="649" y="309"/>
                      <a:pt x="649" y="309"/>
                    </a:cubicBezTo>
                    <a:cubicBezTo>
                      <a:pt x="666" y="449"/>
                      <a:pt x="629" y="585"/>
                      <a:pt x="545" y="692"/>
                    </a:cubicBezTo>
                    <a:cubicBezTo>
                      <a:pt x="452" y="810"/>
                      <a:pt x="309"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 name="Rectangle 1">
            <a:extLst>
              <a:ext uri="{FF2B5EF4-FFF2-40B4-BE49-F238E27FC236}">
                <a16:creationId xmlns:a16="http://schemas.microsoft.com/office/drawing/2014/main" id="{FA1BFC4D-DF6B-4E78-9D71-256319086F01}"/>
              </a:ext>
            </a:extLst>
          </p:cNvPr>
          <p:cNvSpPr/>
          <p:nvPr/>
        </p:nvSpPr>
        <p:spPr>
          <a:xfrm>
            <a:off x="434975" y="2291097"/>
            <a:ext cx="4690644" cy="3046988"/>
          </a:xfrm>
          <a:prstGeom prst="rect">
            <a:avLst/>
          </a:prstGeom>
        </p:spPr>
        <p:txBody>
          <a:bodyPr wrap="square">
            <a:spAutoFit/>
          </a:bodyPr>
          <a:lstStyle/>
          <a:p>
            <a:r>
              <a:rPr lang="en-US" sz="3200" dirty="0">
                <a:gradFill>
                  <a:gsLst>
                    <a:gs pos="2326">
                      <a:schemeClr val="tx1"/>
                    </a:gs>
                    <a:gs pos="30000">
                      <a:schemeClr val="tx1"/>
                    </a:gs>
                  </a:gsLst>
                  <a:lin ang="5400000" scaled="1"/>
                </a:gradFill>
                <a:latin typeface="+mj-lt"/>
              </a:rPr>
              <a:t>Allow your apps to process natural language with pre-built scripts, evaluate sentiment and learn how to recognize what users want</a:t>
            </a:r>
          </a:p>
        </p:txBody>
      </p:sp>
      <p:pic>
        <p:nvPicPr>
          <p:cNvPr id="4" name="Picture 3">
            <a:extLst>
              <a:ext uri="{FF2B5EF4-FFF2-40B4-BE49-F238E27FC236}">
                <a16:creationId xmlns:a16="http://schemas.microsoft.com/office/drawing/2014/main" id="{5D1E8797-FDFC-4A4A-AB2C-CC1CA6D7BC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0588" y="2379407"/>
            <a:ext cx="7105175" cy="2644878"/>
          </a:xfrm>
          <a:prstGeom prst="rect">
            <a:avLst/>
          </a:prstGeom>
        </p:spPr>
      </p:pic>
    </p:spTree>
    <p:extLst>
      <p:ext uri="{BB962C8B-B14F-4D97-AF65-F5344CB8AC3E}">
        <p14:creationId xmlns:p14="http://schemas.microsoft.com/office/powerpoint/2010/main" val="75375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63" presetClass="path" presetSubtype="0" decel="100000" fill="hold" nodeType="withEffect">
                                  <p:stCondLst>
                                    <p:cond delay="0"/>
                                  </p:stCondLst>
                                  <p:childTnLst>
                                    <p:animMotion origin="layout" path="M -0.02617 0 L -4.79167E-6 0 " pathEditMode="relative" rAng="0" ptsTypes="AA">
                                      <p:cBhvr>
                                        <p:cTn id="9" dur="500" fill="hold"/>
                                        <p:tgtEl>
                                          <p:spTgt spid="49"/>
                                        </p:tgtEl>
                                        <p:attrNameLst>
                                          <p:attrName>ppt_x</p:attrName>
                                          <p:attrName>ppt_y</p:attrName>
                                        </p:attrNameLst>
                                      </p:cBhvr>
                                      <p:rCtr x="1302" y="0"/>
                                    </p:animMotion>
                                  </p:childTnLst>
                                </p:cTn>
                              </p:par>
                              <p:par>
                                <p:cTn id="10" presetID="10" presetClass="entr" presetSubtype="0" fill="hold" grpId="0" nodeType="with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500"/>
                                        <p:tgtEl>
                                          <p:spTgt spid="44"/>
                                        </p:tgtEl>
                                      </p:cBhvr>
                                    </p:animEffect>
                                  </p:childTnLst>
                                </p:cTn>
                              </p:par>
                              <p:par>
                                <p:cTn id="13" presetID="63" presetClass="path" presetSubtype="0" decel="100000" fill="hold" grpId="1" nodeType="withEffect">
                                  <p:stCondLst>
                                    <p:cond delay="0"/>
                                  </p:stCondLst>
                                  <p:childTnLst>
                                    <p:animMotion origin="layout" path="M -0.02617 0 L -4.79167E-6 0 " pathEditMode="relative" rAng="0" ptsTypes="AA">
                                      <p:cBhvr>
                                        <p:cTn id="14" dur="500" fill="hold"/>
                                        <p:tgtEl>
                                          <p:spTgt spid="44"/>
                                        </p:tgtEl>
                                        <p:attrNameLst>
                                          <p:attrName>ppt_x</p:attrName>
                                          <p:attrName>ppt_y</p:attrName>
                                        </p:attrNameLst>
                                      </p:cBhvr>
                                      <p:rCtr x="1302" y="0"/>
                                    </p:animMotion>
                                  </p:childTnLst>
                                </p:cTn>
                              </p:par>
                              <p:par>
                                <p:cTn id="15" presetID="10"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par>
                                <p:cTn id="18" presetID="63" presetClass="path" presetSubtype="0" decel="100000" fill="hold" grpId="1" nodeType="withEffect">
                                  <p:stCondLst>
                                    <p:cond delay="0"/>
                                  </p:stCondLst>
                                  <p:childTnLst>
                                    <p:animMotion origin="layout" path="M -0.02617 0 L -4.79167E-6 0 " pathEditMode="relative" rAng="0" ptsTypes="AA">
                                      <p:cBhvr>
                                        <p:cTn id="19" dur="500" fill="hold"/>
                                        <p:tgtEl>
                                          <p:spTgt spid="2"/>
                                        </p:tgtEl>
                                        <p:attrNameLst>
                                          <p:attrName>ppt_x</p:attrName>
                                          <p:attrName>ppt_y</p:attrName>
                                        </p:attrNameLst>
                                      </p:cBhvr>
                                      <p:rCtr x="1302" y="0"/>
                                    </p:animMotion>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2" grpId="0"/>
      <p:bldP spid="2"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TextBox 151">
            <a:extLst>
              <a:ext uri="{FF2B5EF4-FFF2-40B4-BE49-F238E27FC236}">
                <a16:creationId xmlns:a16="http://schemas.microsoft.com/office/drawing/2014/main" id="{E8D6C3B4-64CC-4E7F-B45E-2EE2B4D328A0}"/>
              </a:ext>
            </a:extLst>
          </p:cNvPr>
          <p:cNvSpPr txBox="1"/>
          <p:nvPr/>
        </p:nvSpPr>
        <p:spPr>
          <a:xfrm>
            <a:off x="7591162" y="4827692"/>
            <a:ext cx="2804380" cy="498598"/>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5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 Understanding </a:t>
            </a:r>
            <a:endPar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endParaRPr>
          </a:p>
        </p:txBody>
      </p:sp>
      <p:sp>
        <p:nvSpPr>
          <p:cNvPr id="153" name="Rectangle 152">
            <a:extLst>
              <a:ext uri="{FF2B5EF4-FFF2-40B4-BE49-F238E27FC236}">
                <a16:creationId xmlns:a16="http://schemas.microsoft.com/office/drawing/2014/main" id="{F4AB2BA7-6DEE-4CE2-B722-7FC095B8A4BB}"/>
              </a:ext>
            </a:extLst>
          </p:cNvPr>
          <p:cNvSpPr/>
          <p:nvPr/>
        </p:nvSpPr>
        <p:spPr>
          <a:xfrm>
            <a:off x="7648906" y="5289084"/>
            <a:ext cx="2688892" cy="479807"/>
          </a:xfrm>
          <a:prstGeom prst="rect">
            <a:avLst/>
          </a:prstGeom>
        </p:spPr>
        <p:txBody>
          <a:bodyPr wrap="square">
            <a:spAutoFit/>
          </a:bodyPr>
          <a:lstStyle/>
          <a:p>
            <a:pPr algn="ctr" defTabSz="914139">
              <a:lnSpc>
                <a:spcPct val="90000"/>
              </a:lnSpc>
              <a:spcAft>
                <a:spcPts val="575"/>
              </a:spcAft>
              <a:defRPr/>
            </a:pPr>
            <a: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each your apps to understand commands from your users</a:t>
            </a:r>
          </a:p>
        </p:txBody>
      </p:sp>
      <p:sp>
        <p:nvSpPr>
          <p:cNvPr id="72" name="Freeform 16">
            <a:extLst>
              <a:ext uri="{FF2B5EF4-FFF2-40B4-BE49-F238E27FC236}">
                <a16:creationId xmlns:a16="http://schemas.microsoft.com/office/drawing/2014/main" id="{002539C8-6F23-42DA-9947-06EA6D7D0C21}"/>
              </a:ext>
            </a:extLst>
          </p:cNvPr>
          <p:cNvSpPr>
            <a:spLocks noEditPoints="1"/>
          </p:cNvSpPr>
          <p:nvPr/>
        </p:nvSpPr>
        <p:spPr bwMode="auto">
          <a:xfrm>
            <a:off x="8685102" y="4077968"/>
            <a:ext cx="616500" cy="539819"/>
          </a:xfrm>
          <a:custGeom>
            <a:avLst/>
            <a:gdLst>
              <a:gd name="T0" fmla="*/ 1150 w 1167"/>
              <a:gd name="T1" fmla="*/ 473 h 1020"/>
              <a:gd name="T2" fmla="*/ 1167 w 1167"/>
              <a:gd name="T3" fmla="*/ 475 h 1020"/>
              <a:gd name="T4" fmla="*/ 1167 w 1167"/>
              <a:gd name="T5" fmla="*/ 545 h 1020"/>
              <a:gd name="T6" fmla="*/ 1150 w 1167"/>
              <a:gd name="T7" fmla="*/ 548 h 1020"/>
              <a:gd name="T8" fmla="*/ 1077 w 1167"/>
              <a:gd name="T9" fmla="*/ 673 h 1020"/>
              <a:gd name="T10" fmla="*/ 1077 w 1167"/>
              <a:gd name="T11" fmla="*/ 838 h 1020"/>
              <a:gd name="T12" fmla="*/ 1033 w 1167"/>
              <a:gd name="T13" fmla="*/ 974 h 1020"/>
              <a:gd name="T14" fmla="*/ 909 w 1167"/>
              <a:gd name="T15" fmla="*/ 1020 h 1020"/>
              <a:gd name="T16" fmla="*/ 888 w 1167"/>
              <a:gd name="T17" fmla="*/ 1020 h 1020"/>
              <a:gd name="T18" fmla="*/ 888 w 1167"/>
              <a:gd name="T19" fmla="*/ 934 h 1020"/>
              <a:gd name="T20" fmla="*/ 907 w 1167"/>
              <a:gd name="T21" fmla="*/ 933 h 1020"/>
              <a:gd name="T22" fmla="*/ 964 w 1167"/>
              <a:gd name="T23" fmla="*/ 909 h 1020"/>
              <a:gd name="T24" fmla="*/ 981 w 1167"/>
              <a:gd name="T25" fmla="*/ 822 h 1020"/>
              <a:gd name="T26" fmla="*/ 981 w 1167"/>
              <a:gd name="T27" fmla="*/ 668 h 1020"/>
              <a:gd name="T28" fmla="*/ 1041 w 1167"/>
              <a:gd name="T29" fmla="*/ 511 h 1020"/>
              <a:gd name="T30" fmla="*/ 981 w 1167"/>
              <a:gd name="T31" fmla="*/ 362 h 1020"/>
              <a:gd name="T32" fmla="*/ 981 w 1167"/>
              <a:gd name="T33" fmla="*/ 199 h 1020"/>
              <a:gd name="T34" fmla="*/ 964 w 1167"/>
              <a:gd name="T35" fmla="*/ 111 h 1020"/>
              <a:gd name="T36" fmla="*/ 907 w 1167"/>
              <a:gd name="T37" fmla="*/ 88 h 1020"/>
              <a:gd name="T38" fmla="*/ 888 w 1167"/>
              <a:gd name="T39" fmla="*/ 87 h 1020"/>
              <a:gd name="T40" fmla="*/ 888 w 1167"/>
              <a:gd name="T41" fmla="*/ 0 h 1020"/>
              <a:gd name="T42" fmla="*/ 909 w 1167"/>
              <a:gd name="T43" fmla="*/ 1 h 1020"/>
              <a:gd name="T44" fmla="*/ 1033 w 1167"/>
              <a:gd name="T45" fmla="*/ 47 h 1020"/>
              <a:gd name="T46" fmla="*/ 1077 w 1167"/>
              <a:gd name="T47" fmla="*/ 183 h 1020"/>
              <a:gd name="T48" fmla="*/ 1077 w 1167"/>
              <a:gd name="T49" fmla="*/ 357 h 1020"/>
              <a:gd name="T50" fmla="*/ 1150 w 1167"/>
              <a:gd name="T51" fmla="*/ 473 h 1020"/>
              <a:gd name="T52" fmla="*/ 134 w 1167"/>
              <a:gd name="T53" fmla="*/ 47 h 1020"/>
              <a:gd name="T54" fmla="*/ 259 w 1167"/>
              <a:gd name="T55" fmla="*/ 1 h 1020"/>
              <a:gd name="T56" fmla="*/ 280 w 1167"/>
              <a:gd name="T57" fmla="*/ 0 h 1020"/>
              <a:gd name="T58" fmla="*/ 280 w 1167"/>
              <a:gd name="T59" fmla="*/ 87 h 1020"/>
              <a:gd name="T60" fmla="*/ 261 w 1167"/>
              <a:gd name="T61" fmla="*/ 88 h 1020"/>
              <a:gd name="T62" fmla="*/ 204 w 1167"/>
              <a:gd name="T63" fmla="*/ 111 h 1020"/>
              <a:gd name="T64" fmla="*/ 187 w 1167"/>
              <a:gd name="T65" fmla="*/ 199 h 1020"/>
              <a:gd name="T66" fmla="*/ 187 w 1167"/>
              <a:gd name="T67" fmla="*/ 362 h 1020"/>
              <a:gd name="T68" fmla="*/ 126 w 1167"/>
              <a:gd name="T69" fmla="*/ 511 h 1020"/>
              <a:gd name="T70" fmla="*/ 187 w 1167"/>
              <a:gd name="T71" fmla="*/ 668 h 1020"/>
              <a:gd name="T72" fmla="*/ 187 w 1167"/>
              <a:gd name="T73" fmla="*/ 822 h 1020"/>
              <a:gd name="T74" fmla="*/ 204 w 1167"/>
              <a:gd name="T75" fmla="*/ 909 h 1020"/>
              <a:gd name="T76" fmla="*/ 261 w 1167"/>
              <a:gd name="T77" fmla="*/ 933 h 1020"/>
              <a:gd name="T78" fmla="*/ 280 w 1167"/>
              <a:gd name="T79" fmla="*/ 934 h 1020"/>
              <a:gd name="T80" fmla="*/ 280 w 1167"/>
              <a:gd name="T81" fmla="*/ 1020 h 1020"/>
              <a:gd name="T82" fmla="*/ 259 w 1167"/>
              <a:gd name="T83" fmla="*/ 1020 h 1020"/>
              <a:gd name="T84" fmla="*/ 134 w 1167"/>
              <a:gd name="T85" fmla="*/ 974 h 1020"/>
              <a:gd name="T86" fmla="*/ 91 w 1167"/>
              <a:gd name="T87" fmla="*/ 838 h 1020"/>
              <a:gd name="T88" fmla="*/ 91 w 1167"/>
              <a:gd name="T89" fmla="*/ 673 h 1020"/>
              <a:gd name="T90" fmla="*/ 18 w 1167"/>
              <a:gd name="T91" fmla="*/ 548 h 1020"/>
              <a:gd name="T92" fmla="*/ 0 w 1167"/>
              <a:gd name="T93" fmla="*/ 545 h 1020"/>
              <a:gd name="T94" fmla="*/ 0 w 1167"/>
              <a:gd name="T95" fmla="*/ 475 h 1020"/>
              <a:gd name="T96" fmla="*/ 18 w 1167"/>
              <a:gd name="T97" fmla="*/ 473 h 1020"/>
              <a:gd name="T98" fmla="*/ 91 w 1167"/>
              <a:gd name="T99" fmla="*/ 357 h 1020"/>
              <a:gd name="T100" fmla="*/ 91 w 1167"/>
              <a:gd name="T101" fmla="*/ 183 h 1020"/>
              <a:gd name="T102" fmla="*/ 134 w 1167"/>
              <a:gd name="T103" fmla="*/ 47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7" h="1020">
                <a:moveTo>
                  <a:pt x="1150" y="473"/>
                </a:moveTo>
                <a:cubicBezTo>
                  <a:pt x="1167" y="475"/>
                  <a:pt x="1167" y="475"/>
                  <a:pt x="1167" y="475"/>
                </a:cubicBezTo>
                <a:cubicBezTo>
                  <a:pt x="1167" y="545"/>
                  <a:pt x="1167" y="545"/>
                  <a:pt x="1167" y="545"/>
                </a:cubicBezTo>
                <a:cubicBezTo>
                  <a:pt x="1150" y="548"/>
                  <a:pt x="1150" y="548"/>
                  <a:pt x="1150" y="548"/>
                </a:cubicBezTo>
                <a:cubicBezTo>
                  <a:pt x="1101" y="555"/>
                  <a:pt x="1077" y="594"/>
                  <a:pt x="1077" y="673"/>
                </a:cubicBezTo>
                <a:cubicBezTo>
                  <a:pt x="1077" y="838"/>
                  <a:pt x="1077" y="838"/>
                  <a:pt x="1077" y="838"/>
                </a:cubicBezTo>
                <a:cubicBezTo>
                  <a:pt x="1077" y="899"/>
                  <a:pt x="1063" y="945"/>
                  <a:pt x="1033" y="974"/>
                </a:cubicBezTo>
                <a:cubicBezTo>
                  <a:pt x="1004" y="1002"/>
                  <a:pt x="962" y="1018"/>
                  <a:pt x="909" y="1020"/>
                </a:cubicBezTo>
                <a:cubicBezTo>
                  <a:pt x="888" y="1020"/>
                  <a:pt x="888" y="1020"/>
                  <a:pt x="888" y="1020"/>
                </a:cubicBezTo>
                <a:cubicBezTo>
                  <a:pt x="888" y="934"/>
                  <a:pt x="888" y="934"/>
                  <a:pt x="888" y="934"/>
                </a:cubicBezTo>
                <a:cubicBezTo>
                  <a:pt x="907" y="933"/>
                  <a:pt x="907" y="933"/>
                  <a:pt x="907" y="933"/>
                </a:cubicBezTo>
                <a:cubicBezTo>
                  <a:pt x="935" y="931"/>
                  <a:pt x="954" y="923"/>
                  <a:pt x="964" y="909"/>
                </a:cubicBezTo>
                <a:cubicBezTo>
                  <a:pt x="975" y="894"/>
                  <a:pt x="981" y="865"/>
                  <a:pt x="981" y="822"/>
                </a:cubicBezTo>
                <a:cubicBezTo>
                  <a:pt x="981" y="668"/>
                  <a:pt x="981" y="668"/>
                  <a:pt x="981" y="668"/>
                </a:cubicBezTo>
                <a:cubicBezTo>
                  <a:pt x="981" y="594"/>
                  <a:pt x="1001" y="541"/>
                  <a:pt x="1041" y="511"/>
                </a:cubicBezTo>
                <a:cubicBezTo>
                  <a:pt x="1001" y="483"/>
                  <a:pt x="981" y="432"/>
                  <a:pt x="981" y="362"/>
                </a:cubicBezTo>
                <a:cubicBezTo>
                  <a:pt x="981" y="199"/>
                  <a:pt x="981" y="199"/>
                  <a:pt x="981" y="199"/>
                </a:cubicBezTo>
                <a:cubicBezTo>
                  <a:pt x="981" y="156"/>
                  <a:pt x="975" y="126"/>
                  <a:pt x="964" y="111"/>
                </a:cubicBezTo>
                <a:cubicBezTo>
                  <a:pt x="954" y="97"/>
                  <a:pt x="935" y="89"/>
                  <a:pt x="907" y="88"/>
                </a:cubicBezTo>
                <a:cubicBezTo>
                  <a:pt x="888" y="87"/>
                  <a:pt x="888" y="87"/>
                  <a:pt x="888" y="87"/>
                </a:cubicBezTo>
                <a:cubicBezTo>
                  <a:pt x="888" y="0"/>
                  <a:pt x="888" y="0"/>
                  <a:pt x="888" y="0"/>
                </a:cubicBezTo>
                <a:cubicBezTo>
                  <a:pt x="909" y="1"/>
                  <a:pt x="909" y="1"/>
                  <a:pt x="909" y="1"/>
                </a:cubicBezTo>
                <a:cubicBezTo>
                  <a:pt x="962" y="3"/>
                  <a:pt x="1004" y="18"/>
                  <a:pt x="1033" y="47"/>
                </a:cubicBezTo>
                <a:cubicBezTo>
                  <a:pt x="1063" y="76"/>
                  <a:pt x="1077" y="122"/>
                  <a:pt x="1077" y="183"/>
                </a:cubicBezTo>
                <a:cubicBezTo>
                  <a:pt x="1077" y="357"/>
                  <a:pt x="1077" y="357"/>
                  <a:pt x="1077" y="357"/>
                </a:cubicBezTo>
                <a:cubicBezTo>
                  <a:pt x="1077" y="430"/>
                  <a:pt x="1101" y="466"/>
                  <a:pt x="1150" y="473"/>
                </a:cubicBezTo>
                <a:close/>
                <a:moveTo>
                  <a:pt x="134" y="47"/>
                </a:moveTo>
                <a:cubicBezTo>
                  <a:pt x="163" y="18"/>
                  <a:pt x="205" y="3"/>
                  <a:pt x="259" y="1"/>
                </a:cubicBezTo>
                <a:cubicBezTo>
                  <a:pt x="280" y="0"/>
                  <a:pt x="280" y="0"/>
                  <a:pt x="280" y="0"/>
                </a:cubicBezTo>
                <a:cubicBezTo>
                  <a:pt x="280" y="87"/>
                  <a:pt x="280" y="87"/>
                  <a:pt x="280" y="87"/>
                </a:cubicBezTo>
                <a:cubicBezTo>
                  <a:pt x="261" y="88"/>
                  <a:pt x="261" y="88"/>
                  <a:pt x="261" y="88"/>
                </a:cubicBezTo>
                <a:cubicBezTo>
                  <a:pt x="232" y="89"/>
                  <a:pt x="214" y="97"/>
                  <a:pt x="204" y="111"/>
                </a:cubicBezTo>
                <a:cubicBezTo>
                  <a:pt x="193" y="126"/>
                  <a:pt x="187" y="156"/>
                  <a:pt x="187" y="199"/>
                </a:cubicBezTo>
                <a:cubicBezTo>
                  <a:pt x="187" y="362"/>
                  <a:pt x="187" y="362"/>
                  <a:pt x="187" y="362"/>
                </a:cubicBezTo>
                <a:cubicBezTo>
                  <a:pt x="187" y="433"/>
                  <a:pt x="167" y="483"/>
                  <a:pt x="126" y="511"/>
                </a:cubicBezTo>
                <a:cubicBezTo>
                  <a:pt x="167" y="540"/>
                  <a:pt x="187" y="594"/>
                  <a:pt x="187" y="668"/>
                </a:cubicBezTo>
                <a:cubicBezTo>
                  <a:pt x="187" y="822"/>
                  <a:pt x="187" y="822"/>
                  <a:pt x="187" y="822"/>
                </a:cubicBezTo>
                <a:cubicBezTo>
                  <a:pt x="187" y="865"/>
                  <a:pt x="193" y="894"/>
                  <a:pt x="204" y="909"/>
                </a:cubicBezTo>
                <a:cubicBezTo>
                  <a:pt x="214" y="923"/>
                  <a:pt x="232" y="931"/>
                  <a:pt x="261" y="933"/>
                </a:cubicBezTo>
                <a:cubicBezTo>
                  <a:pt x="280" y="934"/>
                  <a:pt x="280" y="934"/>
                  <a:pt x="280" y="934"/>
                </a:cubicBezTo>
                <a:cubicBezTo>
                  <a:pt x="280" y="1020"/>
                  <a:pt x="280" y="1020"/>
                  <a:pt x="280" y="1020"/>
                </a:cubicBezTo>
                <a:cubicBezTo>
                  <a:pt x="259" y="1020"/>
                  <a:pt x="259" y="1020"/>
                  <a:pt x="259" y="1020"/>
                </a:cubicBezTo>
                <a:cubicBezTo>
                  <a:pt x="205" y="1018"/>
                  <a:pt x="163" y="1002"/>
                  <a:pt x="134" y="974"/>
                </a:cubicBezTo>
                <a:cubicBezTo>
                  <a:pt x="105" y="945"/>
                  <a:pt x="91" y="899"/>
                  <a:pt x="91" y="838"/>
                </a:cubicBezTo>
                <a:cubicBezTo>
                  <a:pt x="91" y="673"/>
                  <a:pt x="91" y="673"/>
                  <a:pt x="91" y="673"/>
                </a:cubicBezTo>
                <a:cubicBezTo>
                  <a:pt x="91" y="594"/>
                  <a:pt x="67" y="555"/>
                  <a:pt x="18" y="548"/>
                </a:cubicBezTo>
                <a:cubicBezTo>
                  <a:pt x="0" y="545"/>
                  <a:pt x="0" y="545"/>
                  <a:pt x="0" y="545"/>
                </a:cubicBezTo>
                <a:cubicBezTo>
                  <a:pt x="0" y="475"/>
                  <a:pt x="0" y="475"/>
                  <a:pt x="0" y="475"/>
                </a:cubicBezTo>
                <a:cubicBezTo>
                  <a:pt x="18" y="473"/>
                  <a:pt x="18" y="473"/>
                  <a:pt x="18" y="473"/>
                </a:cubicBezTo>
                <a:cubicBezTo>
                  <a:pt x="67" y="466"/>
                  <a:pt x="91" y="430"/>
                  <a:pt x="91" y="357"/>
                </a:cubicBezTo>
                <a:cubicBezTo>
                  <a:pt x="91" y="183"/>
                  <a:pt x="91" y="183"/>
                  <a:pt x="91" y="183"/>
                </a:cubicBezTo>
                <a:cubicBezTo>
                  <a:pt x="91" y="122"/>
                  <a:pt x="105" y="76"/>
                  <a:pt x="134" y="4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Title 2">
            <a:extLst>
              <a:ext uri="{FF2B5EF4-FFF2-40B4-BE49-F238E27FC236}">
                <a16:creationId xmlns:a16="http://schemas.microsoft.com/office/drawing/2014/main" id="{A5529E76-B09F-4CA7-903C-630FEFBC1FD1}"/>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Language</a:t>
            </a:r>
          </a:p>
        </p:txBody>
      </p:sp>
      <p:sp>
        <p:nvSpPr>
          <p:cNvPr id="102" name="TextBox 101">
            <a:hlinkClick r:id="" action="ppaction://noaction"/>
            <a:extLst>
              <a:ext uri="{FF2B5EF4-FFF2-40B4-BE49-F238E27FC236}">
                <a16:creationId xmlns:a16="http://schemas.microsoft.com/office/drawing/2014/main" id="{845C3895-9F7E-42CF-964F-0F9589A45751}"/>
              </a:ext>
            </a:extLst>
          </p:cNvPr>
          <p:cNvSpPr txBox="1"/>
          <p:nvPr/>
        </p:nvSpPr>
        <p:spPr>
          <a:xfrm>
            <a:off x="1487034" y="2669004"/>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5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ext Analytics</a:t>
            </a:r>
            <a:endPar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endParaRPr>
          </a:p>
        </p:txBody>
      </p:sp>
      <p:sp>
        <p:nvSpPr>
          <p:cNvPr id="103" name="Rectangle 102">
            <a:extLst>
              <a:ext uri="{FF2B5EF4-FFF2-40B4-BE49-F238E27FC236}">
                <a16:creationId xmlns:a16="http://schemas.microsoft.com/office/drawing/2014/main" id="{354E4348-829F-46AC-ABAF-C6AC7244446C}"/>
              </a:ext>
            </a:extLst>
          </p:cNvPr>
          <p:cNvSpPr/>
          <p:nvPr/>
        </p:nvSpPr>
        <p:spPr>
          <a:xfrm>
            <a:off x="1486448" y="3130392"/>
            <a:ext cx="2688892" cy="673551"/>
          </a:xfrm>
          <a:prstGeom prst="rect">
            <a:avLst/>
          </a:prstGeom>
        </p:spPr>
        <p:txBody>
          <a:bodyPr wrap="square">
            <a:spAutoFit/>
          </a:bodyPr>
          <a:lstStyle/>
          <a:p>
            <a:pPr algn="ctr" defTabSz="914139">
              <a:lnSpc>
                <a:spcPct val="90000"/>
              </a:lnSpc>
              <a:spcAft>
                <a:spcPts val="575"/>
              </a:spcAft>
              <a:defRPr/>
            </a:pPr>
            <a: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etect sentiment, key </a:t>
            </a:r>
            <a:b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hrases, language, and extract top entities from your text</a:t>
            </a:r>
          </a:p>
        </p:txBody>
      </p:sp>
      <p:sp>
        <p:nvSpPr>
          <p:cNvPr id="119" name="TextBox 118">
            <a:extLst>
              <a:ext uri="{FF2B5EF4-FFF2-40B4-BE49-F238E27FC236}">
                <a16:creationId xmlns:a16="http://schemas.microsoft.com/office/drawing/2014/main" id="{F2A87705-13DD-42EC-9E8F-7CB9EB9832C8}"/>
              </a:ext>
            </a:extLst>
          </p:cNvPr>
          <p:cNvSpPr txBox="1"/>
          <p:nvPr/>
        </p:nvSpPr>
        <p:spPr>
          <a:xfrm>
            <a:off x="5683414" y="2671541"/>
            <a:ext cx="2679400" cy="498598"/>
          </a:xfrm>
          <a:prstGeom prst="rect">
            <a:avLst/>
          </a:prstGeom>
          <a:noFill/>
        </p:spPr>
        <p:txBody>
          <a:bodyPr wrap="square" lIns="175736" tIns="140589" rIns="175736" bIns="140589" rtlCol="0" anchor="ctr">
            <a:spAutoFit/>
          </a:bodyPr>
          <a:lstStyle>
            <a:defPPr>
              <a:defRPr lang="en-US"/>
            </a:defPPr>
            <a:lvl1pPr algn="ctr" defTabSz="914139">
              <a:lnSpc>
                <a:spcPct val="90000"/>
              </a:lnSpc>
              <a:spcAft>
                <a:spcPts val="575"/>
              </a:spcAft>
              <a:defRPr sz="155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r>
              <a:rPr lang="en-US" dirty="0"/>
              <a:t>Bing Spell Check</a:t>
            </a:r>
          </a:p>
        </p:txBody>
      </p:sp>
      <p:sp>
        <p:nvSpPr>
          <p:cNvPr id="120" name="Rectangle 119">
            <a:extLst>
              <a:ext uri="{FF2B5EF4-FFF2-40B4-BE49-F238E27FC236}">
                <a16:creationId xmlns:a16="http://schemas.microsoft.com/office/drawing/2014/main" id="{3E2788E7-730E-4B10-8379-AAECF59651D0}"/>
              </a:ext>
            </a:extLst>
          </p:cNvPr>
          <p:cNvSpPr/>
          <p:nvPr/>
        </p:nvSpPr>
        <p:spPr>
          <a:xfrm>
            <a:off x="5678668" y="3130392"/>
            <a:ext cx="2688892" cy="479807"/>
          </a:xfrm>
          <a:prstGeom prst="rect">
            <a:avLst/>
          </a:prstGeom>
        </p:spPr>
        <p:txBody>
          <a:bodyPr wrap="square">
            <a:spAutoFit/>
          </a:bodyPr>
          <a:lstStyle/>
          <a:p>
            <a:pPr algn="ctr" defTabSz="914139">
              <a:lnSpc>
                <a:spcPct val="90000"/>
              </a:lnSpc>
              <a:spcAft>
                <a:spcPts val="575"/>
              </a:spcAft>
              <a:defRPr/>
            </a:pPr>
            <a: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etect and correct spelling mistakes within your app</a:t>
            </a:r>
          </a:p>
        </p:txBody>
      </p:sp>
      <p:sp>
        <p:nvSpPr>
          <p:cNvPr id="156" name="Rectangle 155">
            <a:extLst>
              <a:ext uri="{FF2B5EF4-FFF2-40B4-BE49-F238E27FC236}">
                <a16:creationId xmlns:a16="http://schemas.microsoft.com/office/drawing/2014/main" id="{6EDB0E3E-ED3E-48E0-9420-DEC0AEA26C26}"/>
              </a:ext>
            </a:extLst>
          </p:cNvPr>
          <p:cNvSpPr/>
          <p:nvPr/>
        </p:nvSpPr>
        <p:spPr>
          <a:xfrm>
            <a:off x="3591552" y="5289084"/>
            <a:ext cx="2688892" cy="479807"/>
          </a:xfrm>
          <a:prstGeom prst="rect">
            <a:avLst/>
          </a:prstGeom>
        </p:spPr>
        <p:txBody>
          <a:bodyPr wrap="square">
            <a:spAutoFit/>
          </a:bodyPr>
          <a:lstStyle/>
          <a:p>
            <a:pPr algn="ctr" defTabSz="914139">
              <a:lnSpc>
                <a:spcPct val="90000"/>
              </a:lnSpc>
              <a:spcAft>
                <a:spcPts val="575"/>
              </a:spcAft>
              <a:defRPr/>
            </a:pPr>
            <a: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asily perform speech </a:t>
            </a:r>
            <a:b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d text translation</a:t>
            </a:r>
          </a:p>
        </p:txBody>
      </p:sp>
      <p:sp>
        <p:nvSpPr>
          <p:cNvPr id="70" name="TextBox 69"/>
          <p:cNvSpPr txBox="1"/>
          <p:nvPr/>
        </p:nvSpPr>
        <p:spPr>
          <a:xfrm>
            <a:off x="3975760" y="4827692"/>
            <a:ext cx="192047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ranslator Text</a:t>
            </a:r>
          </a:p>
        </p:txBody>
      </p:sp>
      <p:sp>
        <p:nvSpPr>
          <p:cNvPr id="45" name="Rectangle 44"/>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9" name="Group 48">
            <a:extLst>
              <a:ext uri="{FF2B5EF4-FFF2-40B4-BE49-F238E27FC236}">
                <a16:creationId xmlns:a16="http://schemas.microsoft.com/office/drawing/2014/main" id="{81ADF90D-BC73-4425-B6E7-177F7378A15E}"/>
              </a:ext>
            </a:extLst>
          </p:cNvPr>
          <p:cNvGrpSpPr/>
          <p:nvPr/>
        </p:nvGrpSpPr>
        <p:grpSpPr>
          <a:xfrm>
            <a:off x="864" y="254613"/>
            <a:ext cx="1188839" cy="956984"/>
            <a:chOff x="864" y="254613"/>
            <a:chExt cx="1188839" cy="956984"/>
          </a:xfrm>
        </p:grpSpPr>
        <p:sp>
          <p:nvSpPr>
            <p:cNvPr id="43" name="Rectangle 42"/>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1" name="Group 34">
              <a:extLst>
                <a:ext uri="{FF2B5EF4-FFF2-40B4-BE49-F238E27FC236}">
                  <a16:creationId xmlns:a16="http://schemas.microsoft.com/office/drawing/2014/main" id="{27BA7B74-368D-41B0-955E-404F28CA4FB2}"/>
                </a:ext>
              </a:extLst>
            </p:cNvPr>
            <p:cNvGrpSpPr>
              <a:grpSpLocks noChangeAspect="1"/>
            </p:cNvGrpSpPr>
            <p:nvPr/>
          </p:nvGrpSpPr>
          <p:grpSpPr bwMode="auto">
            <a:xfrm>
              <a:off x="272986" y="536618"/>
              <a:ext cx="634006" cy="415489"/>
              <a:chOff x="671" y="1179"/>
              <a:chExt cx="2884" cy="1890"/>
            </a:xfrm>
            <a:solidFill>
              <a:schemeClr val="bg1"/>
            </a:solidFill>
          </p:grpSpPr>
          <p:sp>
            <p:nvSpPr>
              <p:cNvPr id="62" name="Freeform 36">
                <a:extLst>
                  <a:ext uri="{FF2B5EF4-FFF2-40B4-BE49-F238E27FC236}">
                    <a16:creationId xmlns:a16="http://schemas.microsoft.com/office/drawing/2014/main" id="{0A49481B-889A-485A-87D1-E5D00CF661D5}"/>
                  </a:ext>
                </a:extLst>
              </p:cNvPr>
              <p:cNvSpPr>
                <a:spLocks noEditPoints="1"/>
              </p:cNvSpPr>
              <p:nvPr/>
            </p:nvSpPr>
            <p:spPr bwMode="auto">
              <a:xfrm>
                <a:off x="2171" y="1179"/>
                <a:ext cx="1384" cy="1890"/>
              </a:xfrm>
              <a:custGeom>
                <a:avLst/>
                <a:gdLst>
                  <a:gd name="T0" fmla="*/ 167 w 666"/>
                  <a:gd name="T1" fmla="*/ 781 h 908"/>
                  <a:gd name="T2" fmla="*/ 172 w 666"/>
                  <a:gd name="T3" fmla="*/ 814 h 908"/>
                  <a:gd name="T4" fmla="*/ 479 w 666"/>
                  <a:gd name="T5" fmla="*/ 639 h 908"/>
                  <a:gd name="T6" fmla="*/ 565 w 666"/>
                  <a:gd name="T7" fmla="*/ 321 h 908"/>
                  <a:gd name="T8" fmla="*/ 287 w 666"/>
                  <a:gd name="T9" fmla="*/ 106 h 908"/>
                  <a:gd name="T10" fmla="*/ 110 w 666"/>
                  <a:gd name="T11" fmla="*/ 351 h 908"/>
                  <a:gd name="T12" fmla="*/ 310 w 666"/>
                  <a:gd name="T13" fmla="*/ 533 h 908"/>
                  <a:gd name="T14" fmla="*/ 363 w 666"/>
                  <a:gd name="T15" fmla="*/ 535 h 908"/>
                  <a:gd name="T16" fmla="*/ 350 w 666"/>
                  <a:gd name="T17" fmla="*/ 586 h 908"/>
                  <a:gd name="T18" fmla="*/ 167 w 666"/>
                  <a:gd name="T19" fmla="*/ 781 h 908"/>
                  <a:gd name="T20" fmla="*/ 107 w 666"/>
                  <a:gd name="T21" fmla="*/ 908 h 908"/>
                  <a:gd name="T22" fmla="*/ 98 w 666"/>
                  <a:gd name="T23" fmla="*/ 873 h 908"/>
                  <a:gd name="T24" fmla="*/ 78 w 666"/>
                  <a:gd name="T25" fmla="*/ 762 h 908"/>
                  <a:gd name="T26" fmla="*/ 74 w 666"/>
                  <a:gd name="T27" fmla="*/ 730 h 908"/>
                  <a:gd name="T28" fmla="*/ 103 w 666"/>
                  <a:gd name="T29" fmla="*/ 718 h 908"/>
                  <a:gd name="T30" fmla="*/ 246 w 666"/>
                  <a:gd name="T31" fmla="*/ 610 h 908"/>
                  <a:gd name="T32" fmla="*/ 26 w 666"/>
                  <a:gd name="T33" fmla="*/ 364 h 908"/>
                  <a:gd name="T34" fmla="*/ 274 w 666"/>
                  <a:gd name="T35" fmla="*/ 22 h 908"/>
                  <a:gd name="T36" fmla="*/ 649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7" y="781"/>
                    </a:moveTo>
                    <a:cubicBezTo>
                      <a:pt x="168" y="791"/>
                      <a:pt x="170" y="803"/>
                      <a:pt x="172" y="814"/>
                    </a:cubicBezTo>
                    <a:cubicBezTo>
                      <a:pt x="299" y="792"/>
                      <a:pt x="407" y="730"/>
                      <a:pt x="479" y="639"/>
                    </a:cubicBezTo>
                    <a:cubicBezTo>
                      <a:pt x="549" y="549"/>
                      <a:pt x="579" y="439"/>
                      <a:pt x="565" y="321"/>
                    </a:cubicBezTo>
                    <a:cubicBezTo>
                      <a:pt x="532" y="149"/>
                      <a:pt x="402" y="89"/>
                      <a:pt x="287" y="106"/>
                    </a:cubicBezTo>
                    <a:cubicBezTo>
                      <a:pt x="171" y="125"/>
                      <a:pt x="92" y="235"/>
                      <a:pt x="110" y="351"/>
                    </a:cubicBezTo>
                    <a:cubicBezTo>
                      <a:pt x="125" y="453"/>
                      <a:pt x="209" y="530"/>
                      <a:pt x="310" y="533"/>
                    </a:cubicBezTo>
                    <a:cubicBezTo>
                      <a:pt x="363" y="535"/>
                      <a:pt x="363" y="535"/>
                      <a:pt x="363" y="535"/>
                    </a:cubicBezTo>
                    <a:cubicBezTo>
                      <a:pt x="350" y="586"/>
                      <a:pt x="350" y="586"/>
                      <a:pt x="350" y="586"/>
                    </a:cubicBezTo>
                    <a:cubicBezTo>
                      <a:pt x="325" y="685"/>
                      <a:pt x="219" y="753"/>
                      <a:pt x="167" y="781"/>
                    </a:cubicBezTo>
                    <a:close/>
                    <a:moveTo>
                      <a:pt x="107" y="908"/>
                    </a:moveTo>
                    <a:cubicBezTo>
                      <a:pt x="98" y="873"/>
                      <a:pt x="98" y="873"/>
                      <a:pt x="98" y="873"/>
                    </a:cubicBezTo>
                    <a:cubicBezTo>
                      <a:pt x="87" y="834"/>
                      <a:pt x="79" y="765"/>
                      <a:pt x="78" y="762"/>
                    </a:cubicBezTo>
                    <a:cubicBezTo>
                      <a:pt x="74" y="730"/>
                      <a:pt x="74" y="730"/>
                      <a:pt x="74" y="730"/>
                    </a:cubicBezTo>
                    <a:cubicBezTo>
                      <a:pt x="103" y="718"/>
                      <a:pt x="103" y="718"/>
                      <a:pt x="103" y="718"/>
                    </a:cubicBezTo>
                    <a:cubicBezTo>
                      <a:pt x="134" y="704"/>
                      <a:pt x="208" y="663"/>
                      <a:pt x="246" y="610"/>
                    </a:cubicBezTo>
                    <a:cubicBezTo>
                      <a:pt x="132" y="581"/>
                      <a:pt x="44" y="485"/>
                      <a:pt x="26" y="364"/>
                    </a:cubicBezTo>
                    <a:cubicBezTo>
                      <a:pt x="0" y="202"/>
                      <a:pt x="111" y="48"/>
                      <a:pt x="274" y="22"/>
                    </a:cubicBezTo>
                    <a:cubicBezTo>
                      <a:pt x="425" y="0"/>
                      <a:pt x="606" y="80"/>
                      <a:pt x="649" y="306"/>
                    </a:cubicBezTo>
                    <a:cubicBezTo>
                      <a:pt x="649" y="309"/>
                      <a:pt x="649" y="309"/>
                      <a:pt x="649" y="309"/>
                    </a:cubicBezTo>
                    <a:cubicBezTo>
                      <a:pt x="666" y="449"/>
                      <a:pt x="630" y="585"/>
                      <a:pt x="545" y="692"/>
                    </a:cubicBezTo>
                    <a:cubicBezTo>
                      <a:pt x="452" y="810"/>
                      <a:pt x="310"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7">
                <a:extLst>
                  <a:ext uri="{FF2B5EF4-FFF2-40B4-BE49-F238E27FC236}">
                    <a16:creationId xmlns:a16="http://schemas.microsoft.com/office/drawing/2014/main" id="{51F24768-9835-4147-A4F6-56C1BDFB7A90}"/>
                  </a:ext>
                </a:extLst>
              </p:cNvPr>
              <p:cNvSpPr>
                <a:spLocks noEditPoints="1"/>
              </p:cNvSpPr>
              <p:nvPr/>
            </p:nvSpPr>
            <p:spPr bwMode="auto">
              <a:xfrm>
                <a:off x="671" y="1179"/>
                <a:ext cx="1384" cy="1890"/>
              </a:xfrm>
              <a:custGeom>
                <a:avLst/>
                <a:gdLst>
                  <a:gd name="T0" fmla="*/ 166 w 666"/>
                  <a:gd name="T1" fmla="*/ 781 h 908"/>
                  <a:gd name="T2" fmla="*/ 171 w 666"/>
                  <a:gd name="T3" fmla="*/ 814 h 908"/>
                  <a:gd name="T4" fmla="*/ 478 w 666"/>
                  <a:gd name="T5" fmla="*/ 639 h 908"/>
                  <a:gd name="T6" fmla="*/ 564 w 666"/>
                  <a:gd name="T7" fmla="*/ 321 h 908"/>
                  <a:gd name="T8" fmla="*/ 286 w 666"/>
                  <a:gd name="T9" fmla="*/ 106 h 908"/>
                  <a:gd name="T10" fmla="*/ 110 w 666"/>
                  <a:gd name="T11" fmla="*/ 351 h 908"/>
                  <a:gd name="T12" fmla="*/ 310 w 666"/>
                  <a:gd name="T13" fmla="*/ 533 h 908"/>
                  <a:gd name="T14" fmla="*/ 362 w 666"/>
                  <a:gd name="T15" fmla="*/ 535 h 908"/>
                  <a:gd name="T16" fmla="*/ 349 w 666"/>
                  <a:gd name="T17" fmla="*/ 586 h 908"/>
                  <a:gd name="T18" fmla="*/ 166 w 666"/>
                  <a:gd name="T19" fmla="*/ 781 h 908"/>
                  <a:gd name="T20" fmla="*/ 107 w 666"/>
                  <a:gd name="T21" fmla="*/ 908 h 908"/>
                  <a:gd name="T22" fmla="*/ 97 w 666"/>
                  <a:gd name="T23" fmla="*/ 873 h 908"/>
                  <a:gd name="T24" fmla="*/ 78 w 666"/>
                  <a:gd name="T25" fmla="*/ 762 h 908"/>
                  <a:gd name="T26" fmla="*/ 74 w 666"/>
                  <a:gd name="T27" fmla="*/ 730 h 908"/>
                  <a:gd name="T28" fmla="*/ 103 w 666"/>
                  <a:gd name="T29" fmla="*/ 718 h 908"/>
                  <a:gd name="T30" fmla="*/ 245 w 666"/>
                  <a:gd name="T31" fmla="*/ 610 h 908"/>
                  <a:gd name="T32" fmla="*/ 26 w 666"/>
                  <a:gd name="T33" fmla="*/ 364 h 908"/>
                  <a:gd name="T34" fmla="*/ 273 w 666"/>
                  <a:gd name="T35" fmla="*/ 22 h 908"/>
                  <a:gd name="T36" fmla="*/ 648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6" y="781"/>
                    </a:moveTo>
                    <a:cubicBezTo>
                      <a:pt x="168" y="791"/>
                      <a:pt x="169" y="803"/>
                      <a:pt x="171" y="814"/>
                    </a:cubicBezTo>
                    <a:cubicBezTo>
                      <a:pt x="298" y="792"/>
                      <a:pt x="406" y="730"/>
                      <a:pt x="478" y="639"/>
                    </a:cubicBezTo>
                    <a:cubicBezTo>
                      <a:pt x="549" y="549"/>
                      <a:pt x="579" y="439"/>
                      <a:pt x="564" y="321"/>
                    </a:cubicBezTo>
                    <a:cubicBezTo>
                      <a:pt x="532" y="149"/>
                      <a:pt x="401" y="89"/>
                      <a:pt x="286" y="106"/>
                    </a:cubicBezTo>
                    <a:cubicBezTo>
                      <a:pt x="171" y="125"/>
                      <a:pt x="91" y="235"/>
                      <a:pt x="110" y="351"/>
                    </a:cubicBezTo>
                    <a:cubicBezTo>
                      <a:pt x="125" y="453"/>
                      <a:pt x="209" y="530"/>
                      <a:pt x="310" y="533"/>
                    </a:cubicBezTo>
                    <a:cubicBezTo>
                      <a:pt x="362" y="535"/>
                      <a:pt x="362" y="535"/>
                      <a:pt x="362" y="535"/>
                    </a:cubicBezTo>
                    <a:cubicBezTo>
                      <a:pt x="349" y="586"/>
                      <a:pt x="349" y="586"/>
                      <a:pt x="349" y="586"/>
                    </a:cubicBezTo>
                    <a:cubicBezTo>
                      <a:pt x="324" y="685"/>
                      <a:pt x="218" y="753"/>
                      <a:pt x="166" y="781"/>
                    </a:cubicBezTo>
                    <a:close/>
                    <a:moveTo>
                      <a:pt x="107" y="908"/>
                    </a:moveTo>
                    <a:cubicBezTo>
                      <a:pt x="97" y="873"/>
                      <a:pt x="97" y="873"/>
                      <a:pt x="97" y="873"/>
                    </a:cubicBezTo>
                    <a:cubicBezTo>
                      <a:pt x="87" y="834"/>
                      <a:pt x="78" y="765"/>
                      <a:pt x="78" y="762"/>
                    </a:cubicBezTo>
                    <a:cubicBezTo>
                      <a:pt x="74" y="730"/>
                      <a:pt x="74" y="730"/>
                      <a:pt x="74" y="730"/>
                    </a:cubicBezTo>
                    <a:cubicBezTo>
                      <a:pt x="103" y="718"/>
                      <a:pt x="103" y="718"/>
                      <a:pt x="103" y="718"/>
                    </a:cubicBezTo>
                    <a:cubicBezTo>
                      <a:pt x="134" y="704"/>
                      <a:pt x="207" y="663"/>
                      <a:pt x="245" y="610"/>
                    </a:cubicBezTo>
                    <a:cubicBezTo>
                      <a:pt x="132" y="581"/>
                      <a:pt x="43" y="485"/>
                      <a:pt x="26" y="364"/>
                    </a:cubicBezTo>
                    <a:cubicBezTo>
                      <a:pt x="0" y="202"/>
                      <a:pt x="111" y="48"/>
                      <a:pt x="273" y="22"/>
                    </a:cubicBezTo>
                    <a:cubicBezTo>
                      <a:pt x="424" y="0"/>
                      <a:pt x="606" y="80"/>
                      <a:pt x="648" y="306"/>
                    </a:cubicBezTo>
                    <a:cubicBezTo>
                      <a:pt x="649" y="309"/>
                      <a:pt x="649" y="309"/>
                      <a:pt x="649" y="309"/>
                    </a:cubicBezTo>
                    <a:cubicBezTo>
                      <a:pt x="666" y="449"/>
                      <a:pt x="629" y="585"/>
                      <a:pt x="545" y="692"/>
                    </a:cubicBezTo>
                    <a:cubicBezTo>
                      <a:pt x="452" y="810"/>
                      <a:pt x="309"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5" name="Freeform 5">
            <a:extLst>
              <a:ext uri="{FF2B5EF4-FFF2-40B4-BE49-F238E27FC236}">
                <a16:creationId xmlns:a16="http://schemas.microsoft.com/office/drawing/2014/main" id="{6806F727-C1FC-4EB6-A3BD-25C6AAE7C91E}"/>
              </a:ext>
            </a:extLst>
          </p:cNvPr>
          <p:cNvSpPr>
            <a:spLocks noEditPoints="1"/>
          </p:cNvSpPr>
          <p:nvPr/>
        </p:nvSpPr>
        <p:spPr bwMode="auto">
          <a:xfrm>
            <a:off x="6721968" y="1837119"/>
            <a:ext cx="602293" cy="603566"/>
          </a:xfrm>
          <a:custGeom>
            <a:avLst/>
            <a:gdLst>
              <a:gd name="T0" fmla="*/ 131 w 2367"/>
              <a:gd name="T1" fmla="*/ 971 h 2372"/>
              <a:gd name="T2" fmla="*/ 699 w 2367"/>
              <a:gd name="T3" fmla="*/ 1540 h 2372"/>
              <a:gd name="T4" fmla="*/ 2234 w 2367"/>
              <a:gd name="T5" fmla="*/ 0 h 2372"/>
              <a:gd name="T6" fmla="*/ 2367 w 2367"/>
              <a:gd name="T7" fmla="*/ 134 h 2372"/>
              <a:gd name="T8" fmla="*/ 699 w 2367"/>
              <a:gd name="T9" fmla="*/ 1805 h 2372"/>
              <a:gd name="T10" fmla="*/ 0 w 2367"/>
              <a:gd name="T11" fmla="*/ 1103 h 2372"/>
              <a:gd name="T12" fmla="*/ 131 w 2367"/>
              <a:gd name="T13" fmla="*/ 971 h 2372"/>
              <a:gd name="T14" fmla="*/ 0 w 2367"/>
              <a:gd name="T15" fmla="*/ 2372 h 2372"/>
              <a:gd name="T16" fmla="*/ 0 w 2367"/>
              <a:gd name="T17" fmla="*/ 2182 h 2372"/>
              <a:gd name="T18" fmla="*/ 2367 w 2367"/>
              <a:gd name="T19" fmla="*/ 2182 h 2372"/>
              <a:gd name="T20" fmla="*/ 2367 w 2367"/>
              <a:gd name="T21" fmla="*/ 2372 h 2372"/>
              <a:gd name="T22" fmla="*/ 0 w 2367"/>
              <a:gd name="T23" fmla="*/ 2372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7" h="2372">
                <a:moveTo>
                  <a:pt x="131" y="971"/>
                </a:moveTo>
                <a:lnTo>
                  <a:pt x="699" y="1540"/>
                </a:lnTo>
                <a:lnTo>
                  <a:pt x="2234" y="0"/>
                </a:lnTo>
                <a:lnTo>
                  <a:pt x="2367" y="134"/>
                </a:lnTo>
                <a:lnTo>
                  <a:pt x="699" y="1805"/>
                </a:lnTo>
                <a:lnTo>
                  <a:pt x="0" y="1103"/>
                </a:lnTo>
                <a:lnTo>
                  <a:pt x="131" y="971"/>
                </a:lnTo>
                <a:close/>
                <a:moveTo>
                  <a:pt x="0" y="2372"/>
                </a:moveTo>
                <a:lnTo>
                  <a:pt x="0" y="2182"/>
                </a:lnTo>
                <a:lnTo>
                  <a:pt x="2367" y="2182"/>
                </a:lnTo>
                <a:lnTo>
                  <a:pt x="2367" y="2372"/>
                </a:lnTo>
                <a:lnTo>
                  <a:pt x="0" y="2372"/>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
        <p:nvSpPr>
          <p:cNvPr id="73" name="Freeform 20">
            <a:extLst>
              <a:ext uri="{FF2B5EF4-FFF2-40B4-BE49-F238E27FC236}">
                <a16:creationId xmlns:a16="http://schemas.microsoft.com/office/drawing/2014/main" id="{09D71DE8-9E76-48A5-AD8B-A9DA445CD2EE}"/>
              </a:ext>
            </a:extLst>
          </p:cNvPr>
          <p:cNvSpPr>
            <a:spLocks noEditPoints="1"/>
          </p:cNvSpPr>
          <p:nvPr/>
        </p:nvSpPr>
        <p:spPr bwMode="auto">
          <a:xfrm>
            <a:off x="2504181" y="1914447"/>
            <a:ext cx="653426" cy="448911"/>
          </a:xfrm>
          <a:custGeom>
            <a:avLst/>
            <a:gdLst>
              <a:gd name="T0" fmla="*/ 0 w 2556"/>
              <a:gd name="T1" fmla="*/ 190 h 1756"/>
              <a:gd name="T2" fmla="*/ 0 w 2556"/>
              <a:gd name="T3" fmla="*/ 0 h 1756"/>
              <a:gd name="T4" fmla="*/ 2223 w 2556"/>
              <a:gd name="T5" fmla="*/ 0 h 1756"/>
              <a:gd name="T6" fmla="*/ 2223 w 2556"/>
              <a:gd name="T7" fmla="*/ 190 h 1756"/>
              <a:gd name="T8" fmla="*/ 0 w 2556"/>
              <a:gd name="T9" fmla="*/ 190 h 1756"/>
              <a:gd name="T10" fmla="*/ 0 w 2556"/>
              <a:gd name="T11" fmla="*/ 711 h 1756"/>
              <a:gd name="T12" fmla="*/ 0 w 2556"/>
              <a:gd name="T13" fmla="*/ 521 h 1756"/>
              <a:gd name="T14" fmla="*/ 2223 w 2556"/>
              <a:gd name="T15" fmla="*/ 521 h 1756"/>
              <a:gd name="T16" fmla="*/ 2223 w 2556"/>
              <a:gd name="T17" fmla="*/ 711 h 1756"/>
              <a:gd name="T18" fmla="*/ 0 w 2556"/>
              <a:gd name="T19" fmla="*/ 711 h 1756"/>
              <a:gd name="T20" fmla="*/ 331 w 2556"/>
              <a:gd name="T21" fmla="*/ 1233 h 1756"/>
              <a:gd name="T22" fmla="*/ 331 w 2556"/>
              <a:gd name="T23" fmla="*/ 1043 h 1756"/>
              <a:gd name="T24" fmla="*/ 2556 w 2556"/>
              <a:gd name="T25" fmla="*/ 1043 h 1756"/>
              <a:gd name="T26" fmla="*/ 2556 w 2556"/>
              <a:gd name="T27" fmla="*/ 1233 h 1756"/>
              <a:gd name="T28" fmla="*/ 331 w 2556"/>
              <a:gd name="T29" fmla="*/ 1233 h 1756"/>
              <a:gd name="T30" fmla="*/ 0 w 2556"/>
              <a:gd name="T31" fmla="*/ 1756 h 1756"/>
              <a:gd name="T32" fmla="*/ 0 w 2556"/>
              <a:gd name="T33" fmla="*/ 1566 h 1756"/>
              <a:gd name="T34" fmla="*/ 2223 w 2556"/>
              <a:gd name="T35" fmla="*/ 1566 h 1756"/>
              <a:gd name="T36" fmla="*/ 2223 w 2556"/>
              <a:gd name="T37" fmla="*/ 1756 h 1756"/>
              <a:gd name="T38" fmla="*/ 0 w 2556"/>
              <a:gd name="T39" fmla="*/ 1756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56" h="1756">
                <a:moveTo>
                  <a:pt x="0" y="190"/>
                </a:moveTo>
                <a:lnTo>
                  <a:pt x="0" y="0"/>
                </a:lnTo>
                <a:lnTo>
                  <a:pt x="2223" y="0"/>
                </a:lnTo>
                <a:lnTo>
                  <a:pt x="2223" y="190"/>
                </a:lnTo>
                <a:lnTo>
                  <a:pt x="0" y="190"/>
                </a:lnTo>
                <a:close/>
                <a:moveTo>
                  <a:pt x="0" y="711"/>
                </a:moveTo>
                <a:lnTo>
                  <a:pt x="0" y="521"/>
                </a:lnTo>
                <a:lnTo>
                  <a:pt x="2223" y="521"/>
                </a:lnTo>
                <a:lnTo>
                  <a:pt x="2223" y="711"/>
                </a:lnTo>
                <a:lnTo>
                  <a:pt x="0" y="711"/>
                </a:lnTo>
                <a:close/>
                <a:moveTo>
                  <a:pt x="331" y="1233"/>
                </a:moveTo>
                <a:lnTo>
                  <a:pt x="331" y="1043"/>
                </a:lnTo>
                <a:lnTo>
                  <a:pt x="2556" y="1043"/>
                </a:lnTo>
                <a:lnTo>
                  <a:pt x="2556" y="1233"/>
                </a:lnTo>
                <a:lnTo>
                  <a:pt x="331" y="1233"/>
                </a:lnTo>
                <a:close/>
                <a:moveTo>
                  <a:pt x="0" y="1756"/>
                </a:moveTo>
                <a:lnTo>
                  <a:pt x="0" y="1566"/>
                </a:lnTo>
                <a:lnTo>
                  <a:pt x="2223" y="1566"/>
                </a:lnTo>
                <a:lnTo>
                  <a:pt x="2223" y="1756"/>
                </a:lnTo>
                <a:lnTo>
                  <a:pt x="0" y="1756"/>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4" name="Group 23">
            <a:extLst>
              <a:ext uri="{FF2B5EF4-FFF2-40B4-BE49-F238E27FC236}">
                <a16:creationId xmlns:a16="http://schemas.microsoft.com/office/drawing/2014/main" id="{ED7DCE96-71FA-4F97-8A07-A9E6703D8008}"/>
              </a:ext>
            </a:extLst>
          </p:cNvPr>
          <p:cNvGrpSpPr>
            <a:grpSpLocks noChangeAspect="1"/>
          </p:cNvGrpSpPr>
          <p:nvPr/>
        </p:nvGrpSpPr>
        <p:grpSpPr bwMode="auto">
          <a:xfrm>
            <a:off x="4633663" y="4045389"/>
            <a:ext cx="604670" cy="606207"/>
            <a:chOff x="0" y="2"/>
            <a:chExt cx="2361" cy="2367"/>
          </a:xfrm>
          <a:solidFill>
            <a:srgbClr val="047CDA"/>
          </a:solidFill>
        </p:grpSpPr>
        <p:sp>
          <p:nvSpPr>
            <p:cNvPr id="75" name="Freeform 24">
              <a:extLst>
                <a:ext uri="{FF2B5EF4-FFF2-40B4-BE49-F238E27FC236}">
                  <a16:creationId xmlns:a16="http://schemas.microsoft.com/office/drawing/2014/main" id="{2992062E-2243-486C-A42D-A2235403F9D5}"/>
                </a:ext>
              </a:extLst>
            </p:cNvPr>
            <p:cNvSpPr>
              <a:spLocks noEditPoints="1"/>
            </p:cNvSpPr>
            <p:nvPr/>
          </p:nvSpPr>
          <p:spPr bwMode="auto">
            <a:xfrm>
              <a:off x="10" y="1188"/>
              <a:ext cx="851" cy="1168"/>
            </a:xfrm>
            <a:custGeom>
              <a:avLst/>
              <a:gdLst>
                <a:gd name="T0" fmla="*/ 224 w 409"/>
                <a:gd name="T1" fmla="*/ 74 h 561"/>
                <a:gd name="T2" fmla="*/ 73 w 409"/>
                <a:gd name="T3" fmla="*/ 137 h 561"/>
                <a:gd name="T4" fmla="*/ 46 w 409"/>
                <a:gd name="T5" fmla="*/ 160 h 561"/>
                <a:gd name="T6" fmla="*/ 46 w 409"/>
                <a:gd name="T7" fmla="*/ 62 h 561"/>
                <a:gd name="T8" fmla="*/ 52 w 409"/>
                <a:gd name="T9" fmla="*/ 57 h 561"/>
                <a:gd name="T10" fmla="*/ 133 w 409"/>
                <a:gd name="T11" fmla="*/ 17 h 561"/>
                <a:gd name="T12" fmla="*/ 229 w 409"/>
                <a:gd name="T13" fmla="*/ 0 h 561"/>
                <a:gd name="T14" fmla="*/ 362 w 409"/>
                <a:gd name="T15" fmla="*/ 54 h 561"/>
                <a:gd name="T16" fmla="*/ 409 w 409"/>
                <a:gd name="T17" fmla="*/ 205 h 561"/>
                <a:gd name="T18" fmla="*/ 409 w 409"/>
                <a:gd name="T19" fmla="*/ 549 h 561"/>
                <a:gd name="T20" fmla="*/ 330 w 409"/>
                <a:gd name="T21" fmla="*/ 549 h 561"/>
                <a:gd name="T22" fmla="*/ 330 w 409"/>
                <a:gd name="T23" fmla="*/ 485 h 561"/>
                <a:gd name="T24" fmla="*/ 284 w 409"/>
                <a:gd name="T25" fmla="*/ 527 h 561"/>
                <a:gd name="T26" fmla="*/ 172 w 409"/>
                <a:gd name="T27" fmla="*/ 561 h 561"/>
                <a:gd name="T28" fmla="*/ 47 w 409"/>
                <a:gd name="T29" fmla="*/ 516 h 561"/>
                <a:gd name="T30" fmla="*/ 0 w 409"/>
                <a:gd name="T31" fmla="*/ 402 h 561"/>
                <a:gd name="T32" fmla="*/ 189 w 409"/>
                <a:gd name="T33" fmla="*/ 227 h 561"/>
                <a:gd name="T34" fmla="*/ 330 w 409"/>
                <a:gd name="T35" fmla="*/ 206 h 561"/>
                <a:gd name="T36" fmla="*/ 224 w 409"/>
                <a:gd name="T37" fmla="*/ 74 h 561"/>
                <a:gd name="T38" fmla="*/ 210 w 409"/>
                <a:gd name="T39" fmla="*/ 298 h 561"/>
                <a:gd name="T40" fmla="*/ 106 w 409"/>
                <a:gd name="T41" fmla="*/ 331 h 561"/>
                <a:gd name="T42" fmla="*/ 81 w 409"/>
                <a:gd name="T43" fmla="*/ 400 h 561"/>
                <a:gd name="T44" fmla="*/ 106 w 409"/>
                <a:gd name="T45" fmla="*/ 462 h 561"/>
                <a:gd name="T46" fmla="*/ 177 w 409"/>
                <a:gd name="T47" fmla="*/ 487 h 561"/>
                <a:gd name="T48" fmla="*/ 286 w 409"/>
                <a:gd name="T49" fmla="*/ 438 h 561"/>
                <a:gd name="T50" fmla="*/ 330 w 409"/>
                <a:gd name="T51" fmla="*/ 310 h 561"/>
                <a:gd name="T52" fmla="*/ 330 w 409"/>
                <a:gd name="T53" fmla="*/ 280 h 561"/>
                <a:gd name="T54" fmla="*/ 210 w 409"/>
                <a:gd name="T55" fmla="*/ 29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561">
                  <a:moveTo>
                    <a:pt x="224" y="74"/>
                  </a:moveTo>
                  <a:cubicBezTo>
                    <a:pt x="173" y="74"/>
                    <a:pt x="123" y="95"/>
                    <a:pt x="73" y="137"/>
                  </a:cubicBezTo>
                  <a:cubicBezTo>
                    <a:pt x="46" y="160"/>
                    <a:pt x="46" y="160"/>
                    <a:pt x="46" y="160"/>
                  </a:cubicBezTo>
                  <a:cubicBezTo>
                    <a:pt x="46" y="62"/>
                    <a:pt x="46" y="62"/>
                    <a:pt x="46" y="62"/>
                  </a:cubicBezTo>
                  <a:cubicBezTo>
                    <a:pt x="52" y="57"/>
                    <a:pt x="52" y="57"/>
                    <a:pt x="52" y="57"/>
                  </a:cubicBezTo>
                  <a:cubicBezTo>
                    <a:pt x="72" y="41"/>
                    <a:pt x="100" y="28"/>
                    <a:pt x="133" y="17"/>
                  </a:cubicBezTo>
                  <a:cubicBezTo>
                    <a:pt x="167" y="6"/>
                    <a:pt x="199" y="0"/>
                    <a:pt x="229" y="0"/>
                  </a:cubicBezTo>
                  <a:cubicBezTo>
                    <a:pt x="285" y="0"/>
                    <a:pt x="330" y="18"/>
                    <a:pt x="362" y="54"/>
                  </a:cubicBezTo>
                  <a:cubicBezTo>
                    <a:pt x="393" y="89"/>
                    <a:pt x="409" y="140"/>
                    <a:pt x="409" y="205"/>
                  </a:cubicBezTo>
                  <a:cubicBezTo>
                    <a:pt x="409" y="549"/>
                    <a:pt x="409" y="549"/>
                    <a:pt x="409" y="549"/>
                  </a:cubicBezTo>
                  <a:cubicBezTo>
                    <a:pt x="330" y="549"/>
                    <a:pt x="330" y="549"/>
                    <a:pt x="330" y="549"/>
                  </a:cubicBezTo>
                  <a:cubicBezTo>
                    <a:pt x="330" y="485"/>
                    <a:pt x="330" y="485"/>
                    <a:pt x="330" y="485"/>
                  </a:cubicBezTo>
                  <a:cubicBezTo>
                    <a:pt x="317" y="502"/>
                    <a:pt x="301" y="516"/>
                    <a:pt x="284" y="527"/>
                  </a:cubicBezTo>
                  <a:cubicBezTo>
                    <a:pt x="250" y="550"/>
                    <a:pt x="213" y="561"/>
                    <a:pt x="172" y="561"/>
                  </a:cubicBezTo>
                  <a:cubicBezTo>
                    <a:pt x="120" y="561"/>
                    <a:pt x="78" y="546"/>
                    <a:pt x="47" y="516"/>
                  </a:cubicBezTo>
                  <a:cubicBezTo>
                    <a:pt x="16" y="486"/>
                    <a:pt x="0" y="448"/>
                    <a:pt x="0" y="402"/>
                  </a:cubicBezTo>
                  <a:cubicBezTo>
                    <a:pt x="0" y="305"/>
                    <a:pt x="65" y="246"/>
                    <a:pt x="189" y="227"/>
                  </a:cubicBezTo>
                  <a:cubicBezTo>
                    <a:pt x="330" y="206"/>
                    <a:pt x="330" y="206"/>
                    <a:pt x="330" y="206"/>
                  </a:cubicBezTo>
                  <a:cubicBezTo>
                    <a:pt x="327" y="116"/>
                    <a:pt x="292" y="74"/>
                    <a:pt x="224" y="74"/>
                  </a:cubicBezTo>
                  <a:close/>
                  <a:moveTo>
                    <a:pt x="210" y="298"/>
                  </a:moveTo>
                  <a:cubicBezTo>
                    <a:pt x="160" y="305"/>
                    <a:pt x="125" y="316"/>
                    <a:pt x="106" y="331"/>
                  </a:cubicBezTo>
                  <a:cubicBezTo>
                    <a:pt x="90" y="344"/>
                    <a:pt x="81" y="367"/>
                    <a:pt x="81" y="400"/>
                  </a:cubicBezTo>
                  <a:cubicBezTo>
                    <a:pt x="81" y="426"/>
                    <a:pt x="89" y="446"/>
                    <a:pt x="106" y="462"/>
                  </a:cubicBezTo>
                  <a:cubicBezTo>
                    <a:pt x="122" y="478"/>
                    <a:pt x="146" y="487"/>
                    <a:pt x="177" y="487"/>
                  </a:cubicBezTo>
                  <a:cubicBezTo>
                    <a:pt x="221" y="487"/>
                    <a:pt x="257" y="471"/>
                    <a:pt x="286" y="438"/>
                  </a:cubicBezTo>
                  <a:cubicBezTo>
                    <a:pt x="316" y="406"/>
                    <a:pt x="330" y="363"/>
                    <a:pt x="330" y="310"/>
                  </a:cubicBezTo>
                  <a:cubicBezTo>
                    <a:pt x="330" y="280"/>
                    <a:pt x="330" y="280"/>
                    <a:pt x="330" y="280"/>
                  </a:cubicBezTo>
                  <a:lnTo>
                    <a:pt x="210"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5">
              <a:extLst>
                <a:ext uri="{FF2B5EF4-FFF2-40B4-BE49-F238E27FC236}">
                  <a16:creationId xmlns:a16="http://schemas.microsoft.com/office/drawing/2014/main" id="{E2436930-98A7-4476-9C03-0A429D02E82E}"/>
                </a:ext>
              </a:extLst>
            </p:cNvPr>
            <p:cNvSpPr>
              <a:spLocks/>
            </p:cNvSpPr>
            <p:nvPr/>
          </p:nvSpPr>
          <p:spPr bwMode="auto">
            <a:xfrm>
              <a:off x="1265" y="1665"/>
              <a:ext cx="1048" cy="704"/>
            </a:xfrm>
            <a:custGeom>
              <a:avLst/>
              <a:gdLst>
                <a:gd name="T0" fmla="*/ 251 w 504"/>
                <a:gd name="T1" fmla="*/ 153 h 338"/>
                <a:gd name="T2" fmla="*/ 270 w 504"/>
                <a:gd name="T3" fmla="*/ 129 h 338"/>
                <a:gd name="T4" fmla="*/ 145 w 504"/>
                <a:gd name="T5" fmla="*/ 17 h 338"/>
                <a:gd name="T6" fmla="*/ 462 w 504"/>
                <a:gd name="T7" fmla="*/ 0 h 338"/>
                <a:gd name="T8" fmla="*/ 487 w 504"/>
                <a:gd name="T9" fmla="*/ 23 h 338"/>
                <a:gd name="T10" fmla="*/ 504 w 504"/>
                <a:gd name="T11" fmla="*/ 338 h 338"/>
                <a:gd name="T12" fmla="*/ 386 w 504"/>
                <a:gd name="T13" fmla="*/ 233 h 338"/>
                <a:gd name="T14" fmla="*/ 14 w 504"/>
                <a:gd name="T15" fmla="*/ 230 h 338"/>
                <a:gd name="T16" fmla="*/ 0 w 504"/>
                <a:gd name="T17" fmla="*/ 217 h 338"/>
                <a:gd name="T18" fmla="*/ 251 w 504"/>
                <a:gd name="T19"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1" y="153"/>
                  </a:moveTo>
                  <a:cubicBezTo>
                    <a:pt x="258" y="145"/>
                    <a:pt x="264" y="137"/>
                    <a:pt x="270" y="129"/>
                  </a:cubicBezTo>
                  <a:cubicBezTo>
                    <a:pt x="145" y="17"/>
                    <a:pt x="145" y="17"/>
                    <a:pt x="145" y="17"/>
                  </a:cubicBezTo>
                  <a:cubicBezTo>
                    <a:pt x="462" y="0"/>
                    <a:pt x="462" y="0"/>
                    <a:pt x="462" y="0"/>
                  </a:cubicBezTo>
                  <a:cubicBezTo>
                    <a:pt x="475" y="0"/>
                    <a:pt x="487" y="10"/>
                    <a:pt x="487" y="23"/>
                  </a:cubicBezTo>
                  <a:cubicBezTo>
                    <a:pt x="504" y="338"/>
                    <a:pt x="504" y="338"/>
                    <a:pt x="504" y="338"/>
                  </a:cubicBezTo>
                  <a:cubicBezTo>
                    <a:pt x="386" y="233"/>
                    <a:pt x="386" y="233"/>
                    <a:pt x="386" y="233"/>
                  </a:cubicBezTo>
                  <a:cubicBezTo>
                    <a:pt x="281" y="324"/>
                    <a:pt x="121" y="326"/>
                    <a:pt x="14" y="230"/>
                  </a:cubicBezTo>
                  <a:cubicBezTo>
                    <a:pt x="10" y="226"/>
                    <a:pt x="4" y="221"/>
                    <a:pt x="0" y="217"/>
                  </a:cubicBezTo>
                  <a:cubicBezTo>
                    <a:pt x="86" y="246"/>
                    <a:pt x="186" y="225"/>
                    <a:pt x="25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6">
              <a:extLst>
                <a:ext uri="{FF2B5EF4-FFF2-40B4-BE49-F238E27FC236}">
                  <a16:creationId xmlns:a16="http://schemas.microsoft.com/office/drawing/2014/main" id="{3AAD90D3-6D54-49BA-BB20-2A01EFCBF769}"/>
                </a:ext>
              </a:extLst>
            </p:cNvPr>
            <p:cNvSpPr>
              <a:spLocks/>
            </p:cNvSpPr>
            <p:nvPr/>
          </p:nvSpPr>
          <p:spPr bwMode="auto">
            <a:xfrm>
              <a:off x="0" y="129"/>
              <a:ext cx="1048" cy="704"/>
            </a:xfrm>
            <a:custGeom>
              <a:avLst/>
              <a:gdLst>
                <a:gd name="T0" fmla="*/ 253 w 504"/>
                <a:gd name="T1" fmla="*/ 184 h 338"/>
                <a:gd name="T2" fmla="*/ 234 w 504"/>
                <a:gd name="T3" fmla="*/ 209 h 338"/>
                <a:gd name="T4" fmla="*/ 359 w 504"/>
                <a:gd name="T5" fmla="*/ 321 h 338"/>
                <a:gd name="T6" fmla="*/ 42 w 504"/>
                <a:gd name="T7" fmla="*/ 338 h 338"/>
                <a:gd name="T8" fmla="*/ 17 w 504"/>
                <a:gd name="T9" fmla="*/ 314 h 338"/>
                <a:gd name="T10" fmla="*/ 0 w 504"/>
                <a:gd name="T11" fmla="*/ 0 h 338"/>
                <a:gd name="T12" fmla="*/ 118 w 504"/>
                <a:gd name="T13" fmla="*/ 105 h 338"/>
                <a:gd name="T14" fmla="*/ 489 w 504"/>
                <a:gd name="T15" fmla="*/ 107 h 338"/>
                <a:gd name="T16" fmla="*/ 504 w 504"/>
                <a:gd name="T17" fmla="*/ 121 h 338"/>
                <a:gd name="T18" fmla="*/ 253 w 504"/>
                <a:gd name="T19" fmla="*/ 18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3" y="184"/>
                  </a:moveTo>
                  <a:cubicBezTo>
                    <a:pt x="245" y="192"/>
                    <a:pt x="239" y="201"/>
                    <a:pt x="234" y="209"/>
                  </a:cubicBezTo>
                  <a:cubicBezTo>
                    <a:pt x="359" y="321"/>
                    <a:pt x="359" y="321"/>
                    <a:pt x="359" y="321"/>
                  </a:cubicBezTo>
                  <a:cubicBezTo>
                    <a:pt x="42" y="338"/>
                    <a:pt x="42" y="338"/>
                    <a:pt x="42" y="338"/>
                  </a:cubicBezTo>
                  <a:cubicBezTo>
                    <a:pt x="28" y="338"/>
                    <a:pt x="17" y="328"/>
                    <a:pt x="17" y="314"/>
                  </a:cubicBezTo>
                  <a:cubicBezTo>
                    <a:pt x="0" y="0"/>
                    <a:pt x="0" y="0"/>
                    <a:pt x="0" y="0"/>
                  </a:cubicBezTo>
                  <a:cubicBezTo>
                    <a:pt x="118" y="105"/>
                    <a:pt x="118" y="105"/>
                    <a:pt x="118" y="105"/>
                  </a:cubicBezTo>
                  <a:cubicBezTo>
                    <a:pt x="223" y="13"/>
                    <a:pt x="382" y="11"/>
                    <a:pt x="489" y="107"/>
                  </a:cubicBezTo>
                  <a:cubicBezTo>
                    <a:pt x="494" y="112"/>
                    <a:pt x="499" y="116"/>
                    <a:pt x="504" y="121"/>
                  </a:cubicBezTo>
                  <a:cubicBezTo>
                    <a:pt x="417" y="91"/>
                    <a:pt x="317" y="113"/>
                    <a:pt x="253"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7">
              <a:extLst>
                <a:ext uri="{FF2B5EF4-FFF2-40B4-BE49-F238E27FC236}">
                  <a16:creationId xmlns:a16="http://schemas.microsoft.com/office/drawing/2014/main" id="{536DFA1E-E559-41E2-83B3-157D9A0037F6}"/>
                </a:ext>
              </a:extLst>
            </p:cNvPr>
            <p:cNvSpPr>
              <a:spLocks noEditPoints="1"/>
            </p:cNvSpPr>
            <p:nvPr/>
          </p:nvSpPr>
          <p:spPr bwMode="auto">
            <a:xfrm>
              <a:off x="1194" y="2"/>
              <a:ext cx="1167" cy="1271"/>
            </a:xfrm>
            <a:custGeom>
              <a:avLst/>
              <a:gdLst>
                <a:gd name="T0" fmla="*/ 527 w 561"/>
                <a:gd name="T1" fmla="*/ 78 h 610"/>
                <a:gd name="T2" fmla="*/ 544 w 561"/>
                <a:gd name="T3" fmla="*/ 77 h 610"/>
                <a:gd name="T4" fmla="*/ 548 w 561"/>
                <a:gd name="T5" fmla="*/ 142 h 610"/>
                <a:gd name="T6" fmla="*/ 531 w 561"/>
                <a:gd name="T7" fmla="*/ 143 h 610"/>
                <a:gd name="T8" fmla="*/ 248 w 561"/>
                <a:gd name="T9" fmla="*/ 153 h 610"/>
                <a:gd name="T10" fmla="*/ 244 w 561"/>
                <a:gd name="T11" fmla="*/ 215 h 610"/>
                <a:gd name="T12" fmla="*/ 332 w 561"/>
                <a:gd name="T13" fmla="*/ 207 h 610"/>
                <a:gd name="T14" fmla="*/ 358 w 561"/>
                <a:gd name="T15" fmla="*/ 208 h 610"/>
                <a:gd name="T16" fmla="*/ 369 w 561"/>
                <a:gd name="T17" fmla="*/ 167 h 610"/>
                <a:gd name="T18" fmla="*/ 434 w 561"/>
                <a:gd name="T19" fmla="*/ 182 h 610"/>
                <a:gd name="T20" fmla="*/ 430 w 561"/>
                <a:gd name="T21" fmla="*/ 198 h 610"/>
                <a:gd name="T22" fmla="*/ 424 w 561"/>
                <a:gd name="T23" fmla="*/ 221 h 610"/>
                <a:gd name="T24" fmla="*/ 485 w 561"/>
                <a:gd name="T25" fmla="*/ 252 h 610"/>
                <a:gd name="T26" fmla="*/ 561 w 561"/>
                <a:gd name="T27" fmla="*/ 396 h 610"/>
                <a:gd name="T28" fmla="*/ 498 w 561"/>
                <a:gd name="T29" fmla="*/ 544 h 610"/>
                <a:gd name="T30" fmla="*/ 332 w 561"/>
                <a:gd name="T31" fmla="*/ 608 h 610"/>
                <a:gd name="T32" fmla="*/ 319 w 561"/>
                <a:gd name="T33" fmla="*/ 610 h 610"/>
                <a:gd name="T34" fmla="*/ 294 w 561"/>
                <a:gd name="T35" fmla="*/ 548 h 610"/>
                <a:gd name="T36" fmla="*/ 315 w 561"/>
                <a:gd name="T37" fmla="*/ 545 h 610"/>
                <a:gd name="T38" fmla="*/ 448 w 561"/>
                <a:gd name="T39" fmla="*/ 495 h 610"/>
                <a:gd name="T40" fmla="*/ 493 w 561"/>
                <a:gd name="T41" fmla="*/ 396 h 610"/>
                <a:gd name="T42" fmla="*/ 442 w 561"/>
                <a:gd name="T43" fmla="*/ 303 h 610"/>
                <a:gd name="T44" fmla="*/ 406 w 561"/>
                <a:gd name="T45" fmla="*/ 285 h 610"/>
                <a:gd name="T46" fmla="*/ 335 w 561"/>
                <a:gd name="T47" fmla="*/ 438 h 610"/>
                <a:gd name="T48" fmla="*/ 114 w 561"/>
                <a:gd name="T49" fmla="*/ 580 h 610"/>
                <a:gd name="T50" fmla="*/ 29 w 561"/>
                <a:gd name="T51" fmla="*/ 546 h 610"/>
                <a:gd name="T52" fmla="*/ 0 w 561"/>
                <a:gd name="T53" fmla="*/ 457 h 610"/>
                <a:gd name="T54" fmla="*/ 93 w 561"/>
                <a:gd name="T55" fmla="*/ 284 h 610"/>
                <a:gd name="T56" fmla="*/ 175 w 561"/>
                <a:gd name="T57" fmla="*/ 236 h 610"/>
                <a:gd name="T58" fmla="*/ 179 w 561"/>
                <a:gd name="T59" fmla="*/ 154 h 610"/>
                <a:gd name="T60" fmla="*/ 115 w 561"/>
                <a:gd name="T61" fmla="*/ 155 h 610"/>
                <a:gd name="T62" fmla="*/ 27 w 561"/>
                <a:gd name="T63" fmla="*/ 155 h 610"/>
                <a:gd name="T64" fmla="*/ 10 w 561"/>
                <a:gd name="T65" fmla="*/ 155 h 610"/>
                <a:gd name="T66" fmla="*/ 10 w 561"/>
                <a:gd name="T67" fmla="*/ 89 h 610"/>
                <a:gd name="T68" fmla="*/ 27 w 561"/>
                <a:gd name="T69" fmla="*/ 89 h 610"/>
                <a:gd name="T70" fmla="*/ 117 w 561"/>
                <a:gd name="T71" fmla="*/ 89 h 610"/>
                <a:gd name="T72" fmla="*/ 186 w 561"/>
                <a:gd name="T73" fmla="*/ 88 h 610"/>
                <a:gd name="T74" fmla="*/ 198 w 561"/>
                <a:gd name="T75" fmla="*/ 17 h 610"/>
                <a:gd name="T76" fmla="*/ 201 w 561"/>
                <a:gd name="T77" fmla="*/ 0 h 610"/>
                <a:gd name="T78" fmla="*/ 268 w 561"/>
                <a:gd name="T79" fmla="*/ 16 h 610"/>
                <a:gd name="T80" fmla="*/ 265 w 561"/>
                <a:gd name="T81" fmla="*/ 31 h 610"/>
                <a:gd name="T82" fmla="*/ 255 w 561"/>
                <a:gd name="T83" fmla="*/ 87 h 610"/>
                <a:gd name="T84" fmla="*/ 527 w 561"/>
                <a:gd name="T85" fmla="*/ 78 h 610"/>
                <a:gd name="T86" fmla="*/ 332 w 561"/>
                <a:gd name="T87" fmla="*/ 273 h 610"/>
                <a:gd name="T88" fmla="*/ 242 w 561"/>
                <a:gd name="T89" fmla="*/ 283 h 610"/>
                <a:gd name="T90" fmla="*/ 242 w 561"/>
                <a:gd name="T91" fmla="*/ 285 h 610"/>
                <a:gd name="T92" fmla="*/ 252 w 561"/>
                <a:gd name="T93" fmla="*/ 438 h 610"/>
                <a:gd name="T94" fmla="*/ 277 w 561"/>
                <a:gd name="T95" fmla="*/ 403 h 610"/>
                <a:gd name="T96" fmla="*/ 339 w 561"/>
                <a:gd name="T97" fmla="*/ 273 h 610"/>
                <a:gd name="T98" fmla="*/ 332 w 561"/>
                <a:gd name="T99" fmla="*/ 273 h 610"/>
                <a:gd name="T100" fmla="*/ 137 w 561"/>
                <a:gd name="T101" fmla="*/ 335 h 610"/>
                <a:gd name="T102" fmla="*/ 68 w 561"/>
                <a:gd name="T103" fmla="*/ 457 h 610"/>
                <a:gd name="T104" fmla="*/ 114 w 561"/>
                <a:gd name="T105" fmla="*/ 514 h 610"/>
                <a:gd name="T106" fmla="*/ 192 w 561"/>
                <a:gd name="T107" fmla="*/ 493 h 610"/>
                <a:gd name="T108" fmla="*/ 174 w 561"/>
                <a:gd name="T109" fmla="*/ 311 h 610"/>
                <a:gd name="T110" fmla="*/ 137 w 561"/>
                <a:gd name="T111" fmla="*/ 33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1" h="610">
                  <a:moveTo>
                    <a:pt x="527" y="78"/>
                  </a:moveTo>
                  <a:cubicBezTo>
                    <a:pt x="544" y="77"/>
                    <a:pt x="544" y="77"/>
                    <a:pt x="544" y="77"/>
                  </a:cubicBezTo>
                  <a:cubicBezTo>
                    <a:pt x="548" y="142"/>
                    <a:pt x="548" y="142"/>
                    <a:pt x="548" y="142"/>
                  </a:cubicBezTo>
                  <a:cubicBezTo>
                    <a:pt x="531" y="143"/>
                    <a:pt x="531" y="143"/>
                    <a:pt x="531" y="143"/>
                  </a:cubicBezTo>
                  <a:cubicBezTo>
                    <a:pt x="457" y="148"/>
                    <a:pt x="364" y="151"/>
                    <a:pt x="248" y="153"/>
                  </a:cubicBezTo>
                  <a:cubicBezTo>
                    <a:pt x="246" y="173"/>
                    <a:pt x="245" y="193"/>
                    <a:pt x="244" y="215"/>
                  </a:cubicBezTo>
                  <a:cubicBezTo>
                    <a:pt x="271" y="210"/>
                    <a:pt x="300" y="207"/>
                    <a:pt x="332" y="207"/>
                  </a:cubicBezTo>
                  <a:cubicBezTo>
                    <a:pt x="341" y="207"/>
                    <a:pt x="350" y="208"/>
                    <a:pt x="358" y="208"/>
                  </a:cubicBezTo>
                  <a:cubicBezTo>
                    <a:pt x="369" y="167"/>
                    <a:pt x="369" y="167"/>
                    <a:pt x="369" y="167"/>
                  </a:cubicBezTo>
                  <a:cubicBezTo>
                    <a:pt x="434" y="182"/>
                    <a:pt x="434" y="182"/>
                    <a:pt x="434" y="182"/>
                  </a:cubicBezTo>
                  <a:cubicBezTo>
                    <a:pt x="430" y="198"/>
                    <a:pt x="430" y="198"/>
                    <a:pt x="430" y="198"/>
                  </a:cubicBezTo>
                  <a:cubicBezTo>
                    <a:pt x="428" y="206"/>
                    <a:pt x="427" y="212"/>
                    <a:pt x="424" y="221"/>
                  </a:cubicBezTo>
                  <a:cubicBezTo>
                    <a:pt x="446" y="228"/>
                    <a:pt x="467" y="239"/>
                    <a:pt x="485" y="252"/>
                  </a:cubicBezTo>
                  <a:cubicBezTo>
                    <a:pt x="536" y="287"/>
                    <a:pt x="561" y="335"/>
                    <a:pt x="561" y="396"/>
                  </a:cubicBezTo>
                  <a:cubicBezTo>
                    <a:pt x="561" y="458"/>
                    <a:pt x="540" y="508"/>
                    <a:pt x="498" y="544"/>
                  </a:cubicBezTo>
                  <a:cubicBezTo>
                    <a:pt x="459" y="577"/>
                    <a:pt x="403" y="599"/>
                    <a:pt x="332" y="608"/>
                  </a:cubicBezTo>
                  <a:cubicBezTo>
                    <a:pt x="319" y="610"/>
                    <a:pt x="319" y="610"/>
                    <a:pt x="319" y="610"/>
                  </a:cubicBezTo>
                  <a:cubicBezTo>
                    <a:pt x="294" y="548"/>
                    <a:pt x="294" y="548"/>
                    <a:pt x="294" y="548"/>
                  </a:cubicBezTo>
                  <a:cubicBezTo>
                    <a:pt x="315" y="545"/>
                    <a:pt x="315" y="545"/>
                    <a:pt x="315" y="545"/>
                  </a:cubicBezTo>
                  <a:cubicBezTo>
                    <a:pt x="374" y="537"/>
                    <a:pt x="418" y="521"/>
                    <a:pt x="448" y="495"/>
                  </a:cubicBezTo>
                  <a:cubicBezTo>
                    <a:pt x="478" y="469"/>
                    <a:pt x="493" y="437"/>
                    <a:pt x="493" y="396"/>
                  </a:cubicBezTo>
                  <a:cubicBezTo>
                    <a:pt x="493" y="356"/>
                    <a:pt x="476" y="325"/>
                    <a:pt x="442" y="303"/>
                  </a:cubicBezTo>
                  <a:cubicBezTo>
                    <a:pt x="430" y="295"/>
                    <a:pt x="419" y="289"/>
                    <a:pt x="406" y="285"/>
                  </a:cubicBezTo>
                  <a:cubicBezTo>
                    <a:pt x="386" y="343"/>
                    <a:pt x="363" y="394"/>
                    <a:pt x="335" y="438"/>
                  </a:cubicBezTo>
                  <a:cubicBezTo>
                    <a:pt x="275" y="532"/>
                    <a:pt x="201" y="580"/>
                    <a:pt x="114" y="580"/>
                  </a:cubicBezTo>
                  <a:cubicBezTo>
                    <a:pt x="78" y="580"/>
                    <a:pt x="49" y="568"/>
                    <a:pt x="29" y="546"/>
                  </a:cubicBezTo>
                  <a:cubicBezTo>
                    <a:pt x="9" y="525"/>
                    <a:pt x="0" y="494"/>
                    <a:pt x="0" y="457"/>
                  </a:cubicBezTo>
                  <a:cubicBezTo>
                    <a:pt x="0" y="390"/>
                    <a:pt x="31" y="333"/>
                    <a:pt x="93" y="284"/>
                  </a:cubicBezTo>
                  <a:cubicBezTo>
                    <a:pt x="118" y="264"/>
                    <a:pt x="145" y="248"/>
                    <a:pt x="175" y="236"/>
                  </a:cubicBezTo>
                  <a:cubicBezTo>
                    <a:pt x="175" y="208"/>
                    <a:pt x="177" y="180"/>
                    <a:pt x="179" y="154"/>
                  </a:cubicBezTo>
                  <a:cubicBezTo>
                    <a:pt x="164" y="154"/>
                    <a:pt x="147" y="154"/>
                    <a:pt x="115" y="155"/>
                  </a:cubicBezTo>
                  <a:cubicBezTo>
                    <a:pt x="74" y="155"/>
                    <a:pt x="52" y="155"/>
                    <a:pt x="27" y="155"/>
                  </a:cubicBezTo>
                  <a:cubicBezTo>
                    <a:pt x="10" y="155"/>
                    <a:pt x="10" y="155"/>
                    <a:pt x="10" y="155"/>
                  </a:cubicBezTo>
                  <a:cubicBezTo>
                    <a:pt x="10" y="89"/>
                    <a:pt x="10" y="89"/>
                    <a:pt x="10" y="89"/>
                  </a:cubicBezTo>
                  <a:cubicBezTo>
                    <a:pt x="27" y="89"/>
                    <a:pt x="27" y="89"/>
                    <a:pt x="27" y="89"/>
                  </a:cubicBezTo>
                  <a:cubicBezTo>
                    <a:pt x="53" y="89"/>
                    <a:pt x="75" y="89"/>
                    <a:pt x="117" y="89"/>
                  </a:cubicBezTo>
                  <a:cubicBezTo>
                    <a:pt x="152" y="88"/>
                    <a:pt x="170" y="88"/>
                    <a:pt x="186" y="88"/>
                  </a:cubicBezTo>
                  <a:cubicBezTo>
                    <a:pt x="189" y="66"/>
                    <a:pt x="193" y="43"/>
                    <a:pt x="198" y="17"/>
                  </a:cubicBezTo>
                  <a:cubicBezTo>
                    <a:pt x="201" y="0"/>
                    <a:pt x="201" y="0"/>
                    <a:pt x="201" y="0"/>
                  </a:cubicBezTo>
                  <a:cubicBezTo>
                    <a:pt x="268" y="16"/>
                    <a:pt x="268" y="16"/>
                    <a:pt x="268" y="16"/>
                  </a:cubicBezTo>
                  <a:cubicBezTo>
                    <a:pt x="265" y="31"/>
                    <a:pt x="265" y="31"/>
                    <a:pt x="265" y="31"/>
                  </a:cubicBezTo>
                  <a:cubicBezTo>
                    <a:pt x="261" y="50"/>
                    <a:pt x="258" y="68"/>
                    <a:pt x="255" y="87"/>
                  </a:cubicBezTo>
                  <a:cubicBezTo>
                    <a:pt x="366" y="85"/>
                    <a:pt x="457" y="82"/>
                    <a:pt x="527" y="78"/>
                  </a:cubicBezTo>
                  <a:moveTo>
                    <a:pt x="332" y="273"/>
                  </a:moveTo>
                  <a:cubicBezTo>
                    <a:pt x="299" y="273"/>
                    <a:pt x="269" y="276"/>
                    <a:pt x="242" y="283"/>
                  </a:cubicBezTo>
                  <a:cubicBezTo>
                    <a:pt x="242" y="285"/>
                    <a:pt x="242" y="285"/>
                    <a:pt x="242" y="285"/>
                  </a:cubicBezTo>
                  <a:cubicBezTo>
                    <a:pt x="242" y="342"/>
                    <a:pt x="245" y="393"/>
                    <a:pt x="252" y="438"/>
                  </a:cubicBezTo>
                  <a:cubicBezTo>
                    <a:pt x="260" y="428"/>
                    <a:pt x="269" y="416"/>
                    <a:pt x="277" y="403"/>
                  </a:cubicBezTo>
                  <a:cubicBezTo>
                    <a:pt x="302" y="365"/>
                    <a:pt x="322" y="321"/>
                    <a:pt x="339" y="273"/>
                  </a:cubicBezTo>
                  <a:cubicBezTo>
                    <a:pt x="337" y="273"/>
                    <a:pt x="335" y="273"/>
                    <a:pt x="332" y="273"/>
                  </a:cubicBezTo>
                  <a:moveTo>
                    <a:pt x="137" y="335"/>
                  </a:moveTo>
                  <a:cubicBezTo>
                    <a:pt x="91" y="372"/>
                    <a:pt x="68" y="413"/>
                    <a:pt x="68" y="457"/>
                  </a:cubicBezTo>
                  <a:cubicBezTo>
                    <a:pt x="68" y="498"/>
                    <a:pt x="82" y="514"/>
                    <a:pt x="114" y="514"/>
                  </a:cubicBezTo>
                  <a:cubicBezTo>
                    <a:pt x="140" y="514"/>
                    <a:pt x="166" y="507"/>
                    <a:pt x="192" y="493"/>
                  </a:cubicBezTo>
                  <a:cubicBezTo>
                    <a:pt x="181" y="440"/>
                    <a:pt x="175" y="379"/>
                    <a:pt x="174" y="311"/>
                  </a:cubicBezTo>
                  <a:cubicBezTo>
                    <a:pt x="161" y="318"/>
                    <a:pt x="149" y="326"/>
                    <a:pt x="137" y="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01386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63" presetClass="path" presetSubtype="0" decel="100000" fill="hold" nodeType="withEffect">
                                  <p:stCondLst>
                                    <p:cond delay="0"/>
                                  </p:stCondLst>
                                  <p:childTnLst>
                                    <p:animMotion origin="layout" path="M -0.02617 0 L -4.79167E-6 0 " pathEditMode="relative" rAng="0" ptsTypes="AA">
                                      <p:cBhvr>
                                        <p:cTn id="9" dur="500" fill="hold"/>
                                        <p:tgtEl>
                                          <p:spTgt spid="49"/>
                                        </p:tgtEl>
                                        <p:attrNameLst>
                                          <p:attrName>ppt_x</p:attrName>
                                          <p:attrName>ppt_y</p:attrName>
                                        </p:attrNameLst>
                                      </p:cBhvr>
                                      <p:rCtr x="1302" y="0"/>
                                    </p:animMotion>
                                  </p:childTnLst>
                                </p:cTn>
                              </p:par>
                              <p:par>
                                <p:cTn id="10" presetID="10" presetClass="entr" presetSubtype="0" fill="hold" grpId="0" nodeType="with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500"/>
                                        <p:tgtEl>
                                          <p:spTgt spid="44"/>
                                        </p:tgtEl>
                                      </p:cBhvr>
                                    </p:animEffect>
                                  </p:childTnLst>
                                </p:cTn>
                              </p:par>
                              <p:par>
                                <p:cTn id="13" presetID="63" presetClass="path" presetSubtype="0" decel="100000" fill="hold" grpId="1" nodeType="withEffect">
                                  <p:stCondLst>
                                    <p:cond delay="0"/>
                                  </p:stCondLst>
                                  <p:childTnLst>
                                    <p:animMotion origin="layout" path="M -0.02617 0 L -4.79167E-6 0 " pathEditMode="relative" rAng="0" ptsTypes="AA">
                                      <p:cBhvr>
                                        <p:cTn id="14" dur="500" fill="hold"/>
                                        <p:tgtEl>
                                          <p:spTgt spid="44"/>
                                        </p:tgtEl>
                                        <p:attrNameLst>
                                          <p:attrName>ppt_x</p:attrName>
                                          <p:attrName>ppt_y</p:attrName>
                                        </p:attrNameLst>
                                      </p:cBhvr>
                                      <p:rCtr x="1302" y="0"/>
                                    </p:animMotion>
                                  </p:childTnLst>
                                </p:cTn>
                              </p:par>
                              <p:par>
                                <p:cTn id="15" presetID="53" presetClass="entr" presetSubtype="16" fill="hold" grpId="0" nodeType="withEffect">
                                  <p:stCondLst>
                                    <p:cond delay="0"/>
                                  </p:stCondLst>
                                  <p:childTnLst>
                                    <p:set>
                                      <p:cBhvr>
                                        <p:cTn id="16" dur="1" fill="hold">
                                          <p:stCondLst>
                                            <p:cond delay="0"/>
                                          </p:stCondLst>
                                        </p:cTn>
                                        <p:tgtEl>
                                          <p:spTgt spid="65"/>
                                        </p:tgtEl>
                                        <p:attrNameLst>
                                          <p:attrName>style.visibility</p:attrName>
                                        </p:attrNameLst>
                                      </p:cBhvr>
                                      <p:to>
                                        <p:strVal val="visible"/>
                                      </p:to>
                                    </p:set>
                                    <p:anim calcmode="lin" valueType="num">
                                      <p:cBhvr>
                                        <p:cTn id="17" dur="500" fill="hold"/>
                                        <p:tgtEl>
                                          <p:spTgt spid="65"/>
                                        </p:tgtEl>
                                        <p:attrNameLst>
                                          <p:attrName>ppt_w</p:attrName>
                                        </p:attrNameLst>
                                      </p:cBhvr>
                                      <p:tavLst>
                                        <p:tav tm="0">
                                          <p:val>
                                            <p:fltVal val="0"/>
                                          </p:val>
                                        </p:tav>
                                        <p:tav tm="100000">
                                          <p:val>
                                            <p:strVal val="#ppt_w"/>
                                          </p:val>
                                        </p:tav>
                                      </p:tavLst>
                                    </p:anim>
                                    <p:anim calcmode="lin" valueType="num">
                                      <p:cBhvr>
                                        <p:cTn id="18" dur="500" fill="hold"/>
                                        <p:tgtEl>
                                          <p:spTgt spid="65"/>
                                        </p:tgtEl>
                                        <p:attrNameLst>
                                          <p:attrName>ppt_h</p:attrName>
                                        </p:attrNameLst>
                                      </p:cBhvr>
                                      <p:tavLst>
                                        <p:tav tm="0">
                                          <p:val>
                                            <p:fltVal val="0"/>
                                          </p:val>
                                        </p:tav>
                                        <p:tav tm="100000">
                                          <p:val>
                                            <p:strVal val="#ppt_h"/>
                                          </p:val>
                                        </p:tav>
                                      </p:tavLst>
                                    </p:anim>
                                    <p:animEffect transition="in" filter="fade">
                                      <p:cBhvr>
                                        <p:cTn id="19" dur="500"/>
                                        <p:tgtEl>
                                          <p:spTgt spid="65"/>
                                        </p:tgtEl>
                                      </p:cBhvr>
                                    </p:animEffect>
                                  </p:childTnLst>
                                </p:cTn>
                              </p:par>
                              <p:par>
                                <p:cTn id="20" presetID="53" presetClass="entr" presetSubtype="16" fill="hold" nodeType="withEffect">
                                  <p:stCondLst>
                                    <p:cond delay="0"/>
                                  </p:stCondLst>
                                  <p:childTnLst>
                                    <p:set>
                                      <p:cBhvr>
                                        <p:cTn id="21" dur="1" fill="hold">
                                          <p:stCondLst>
                                            <p:cond delay="0"/>
                                          </p:stCondLst>
                                        </p:cTn>
                                        <p:tgtEl>
                                          <p:spTgt spid="74"/>
                                        </p:tgtEl>
                                        <p:attrNameLst>
                                          <p:attrName>style.visibility</p:attrName>
                                        </p:attrNameLst>
                                      </p:cBhvr>
                                      <p:to>
                                        <p:strVal val="visible"/>
                                      </p:to>
                                    </p:set>
                                    <p:anim calcmode="lin" valueType="num">
                                      <p:cBhvr>
                                        <p:cTn id="22" dur="500" fill="hold"/>
                                        <p:tgtEl>
                                          <p:spTgt spid="74"/>
                                        </p:tgtEl>
                                        <p:attrNameLst>
                                          <p:attrName>ppt_w</p:attrName>
                                        </p:attrNameLst>
                                      </p:cBhvr>
                                      <p:tavLst>
                                        <p:tav tm="0">
                                          <p:val>
                                            <p:fltVal val="0"/>
                                          </p:val>
                                        </p:tav>
                                        <p:tav tm="100000">
                                          <p:val>
                                            <p:strVal val="#ppt_w"/>
                                          </p:val>
                                        </p:tav>
                                      </p:tavLst>
                                    </p:anim>
                                    <p:anim calcmode="lin" valueType="num">
                                      <p:cBhvr>
                                        <p:cTn id="23" dur="500" fill="hold"/>
                                        <p:tgtEl>
                                          <p:spTgt spid="74"/>
                                        </p:tgtEl>
                                        <p:attrNameLst>
                                          <p:attrName>ppt_h</p:attrName>
                                        </p:attrNameLst>
                                      </p:cBhvr>
                                      <p:tavLst>
                                        <p:tav tm="0">
                                          <p:val>
                                            <p:fltVal val="0"/>
                                          </p:val>
                                        </p:tav>
                                        <p:tav tm="100000">
                                          <p:val>
                                            <p:strVal val="#ppt_h"/>
                                          </p:val>
                                        </p:tav>
                                      </p:tavLst>
                                    </p:anim>
                                    <p:animEffect transition="in" filter="fade">
                                      <p:cBhvr>
                                        <p:cTn id="24" dur="500"/>
                                        <p:tgtEl>
                                          <p:spTgt spid="74"/>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73"/>
                                        </p:tgtEl>
                                        <p:attrNameLst>
                                          <p:attrName>style.visibility</p:attrName>
                                        </p:attrNameLst>
                                      </p:cBhvr>
                                      <p:to>
                                        <p:strVal val="visible"/>
                                      </p:to>
                                    </p:set>
                                    <p:anim calcmode="lin" valueType="num">
                                      <p:cBhvr>
                                        <p:cTn id="27" dur="500" fill="hold"/>
                                        <p:tgtEl>
                                          <p:spTgt spid="73"/>
                                        </p:tgtEl>
                                        <p:attrNameLst>
                                          <p:attrName>ppt_w</p:attrName>
                                        </p:attrNameLst>
                                      </p:cBhvr>
                                      <p:tavLst>
                                        <p:tav tm="0">
                                          <p:val>
                                            <p:fltVal val="0"/>
                                          </p:val>
                                        </p:tav>
                                        <p:tav tm="100000">
                                          <p:val>
                                            <p:strVal val="#ppt_w"/>
                                          </p:val>
                                        </p:tav>
                                      </p:tavLst>
                                    </p:anim>
                                    <p:anim calcmode="lin" valueType="num">
                                      <p:cBhvr>
                                        <p:cTn id="28" dur="500" fill="hold"/>
                                        <p:tgtEl>
                                          <p:spTgt spid="73"/>
                                        </p:tgtEl>
                                        <p:attrNameLst>
                                          <p:attrName>ppt_h</p:attrName>
                                        </p:attrNameLst>
                                      </p:cBhvr>
                                      <p:tavLst>
                                        <p:tav tm="0">
                                          <p:val>
                                            <p:fltVal val="0"/>
                                          </p:val>
                                        </p:tav>
                                        <p:tav tm="100000">
                                          <p:val>
                                            <p:strVal val="#ppt_h"/>
                                          </p:val>
                                        </p:tav>
                                      </p:tavLst>
                                    </p:anim>
                                    <p:animEffect transition="in" filter="fade">
                                      <p:cBhvr>
                                        <p:cTn id="29" dur="500"/>
                                        <p:tgtEl>
                                          <p:spTgt spid="73"/>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2"/>
                                        </p:tgtEl>
                                        <p:attrNameLst>
                                          <p:attrName>style.visibility</p:attrName>
                                        </p:attrNameLst>
                                      </p:cBhvr>
                                      <p:to>
                                        <p:strVal val="visible"/>
                                      </p:to>
                                    </p:set>
                                    <p:anim calcmode="lin" valueType="num">
                                      <p:cBhvr>
                                        <p:cTn id="32" dur="500" fill="hold"/>
                                        <p:tgtEl>
                                          <p:spTgt spid="72"/>
                                        </p:tgtEl>
                                        <p:attrNameLst>
                                          <p:attrName>ppt_w</p:attrName>
                                        </p:attrNameLst>
                                      </p:cBhvr>
                                      <p:tavLst>
                                        <p:tav tm="0">
                                          <p:val>
                                            <p:fltVal val="0"/>
                                          </p:val>
                                        </p:tav>
                                        <p:tav tm="100000">
                                          <p:val>
                                            <p:strVal val="#ppt_w"/>
                                          </p:val>
                                        </p:tav>
                                      </p:tavLst>
                                    </p:anim>
                                    <p:anim calcmode="lin" valueType="num">
                                      <p:cBhvr>
                                        <p:cTn id="33" dur="500" fill="hold"/>
                                        <p:tgtEl>
                                          <p:spTgt spid="72"/>
                                        </p:tgtEl>
                                        <p:attrNameLst>
                                          <p:attrName>ppt_h</p:attrName>
                                        </p:attrNameLst>
                                      </p:cBhvr>
                                      <p:tavLst>
                                        <p:tav tm="0">
                                          <p:val>
                                            <p:fltVal val="0"/>
                                          </p:val>
                                        </p:tav>
                                        <p:tav tm="100000">
                                          <p:val>
                                            <p:strVal val="#ppt_h"/>
                                          </p:val>
                                        </p:tav>
                                      </p:tavLst>
                                    </p:anim>
                                    <p:animEffect transition="in" filter="fade">
                                      <p:cBhvr>
                                        <p:cTn id="34" dur="500"/>
                                        <p:tgtEl>
                                          <p:spTgt spid="72"/>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120"/>
                                        </p:tgtEl>
                                        <p:attrNameLst>
                                          <p:attrName>style.visibility</p:attrName>
                                        </p:attrNameLst>
                                      </p:cBhvr>
                                      <p:to>
                                        <p:strVal val="visible"/>
                                      </p:to>
                                    </p:set>
                                    <p:animEffect transition="in" filter="fade">
                                      <p:cBhvr>
                                        <p:cTn id="38" dur="500"/>
                                        <p:tgtEl>
                                          <p:spTgt spid="120"/>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70"/>
                                        </p:tgtEl>
                                        <p:attrNameLst>
                                          <p:attrName>style.visibility</p:attrName>
                                        </p:attrNameLst>
                                      </p:cBhvr>
                                      <p:to>
                                        <p:strVal val="visible"/>
                                      </p:to>
                                    </p:set>
                                    <p:animEffect transition="in" filter="fade">
                                      <p:cBhvr>
                                        <p:cTn id="41" dur="500"/>
                                        <p:tgtEl>
                                          <p:spTgt spid="70"/>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56"/>
                                        </p:tgtEl>
                                        <p:attrNameLst>
                                          <p:attrName>style.visibility</p:attrName>
                                        </p:attrNameLst>
                                      </p:cBhvr>
                                      <p:to>
                                        <p:strVal val="visible"/>
                                      </p:to>
                                    </p:set>
                                    <p:animEffect transition="in" filter="fade">
                                      <p:cBhvr>
                                        <p:cTn id="44" dur="500"/>
                                        <p:tgtEl>
                                          <p:spTgt spid="156"/>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03"/>
                                        </p:tgtEl>
                                        <p:attrNameLst>
                                          <p:attrName>style.visibility</p:attrName>
                                        </p:attrNameLst>
                                      </p:cBhvr>
                                      <p:to>
                                        <p:strVal val="visible"/>
                                      </p:to>
                                    </p:set>
                                    <p:animEffect transition="in" filter="fade">
                                      <p:cBhvr>
                                        <p:cTn id="47" dur="500"/>
                                        <p:tgtEl>
                                          <p:spTgt spid="10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02"/>
                                        </p:tgtEl>
                                        <p:attrNameLst>
                                          <p:attrName>style.visibility</p:attrName>
                                        </p:attrNameLst>
                                      </p:cBhvr>
                                      <p:to>
                                        <p:strVal val="visible"/>
                                      </p:to>
                                    </p:set>
                                    <p:animEffect transition="in" filter="fade">
                                      <p:cBhvr>
                                        <p:cTn id="50" dur="500"/>
                                        <p:tgtEl>
                                          <p:spTgt spid="10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53"/>
                                        </p:tgtEl>
                                        <p:attrNameLst>
                                          <p:attrName>style.visibility</p:attrName>
                                        </p:attrNameLst>
                                      </p:cBhvr>
                                      <p:to>
                                        <p:strVal val="visible"/>
                                      </p:to>
                                    </p:set>
                                    <p:animEffect transition="in" filter="fade">
                                      <p:cBhvr>
                                        <p:cTn id="53" dur="500"/>
                                        <p:tgtEl>
                                          <p:spTgt spid="15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52"/>
                                        </p:tgtEl>
                                        <p:attrNameLst>
                                          <p:attrName>style.visibility</p:attrName>
                                        </p:attrNameLst>
                                      </p:cBhvr>
                                      <p:to>
                                        <p:strVal val="visible"/>
                                      </p:to>
                                    </p:set>
                                    <p:animEffect transition="in" filter="fade">
                                      <p:cBhvr>
                                        <p:cTn id="56" dur="500"/>
                                        <p:tgtEl>
                                          <p:spTgt spid="152"/>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19"/>
                                        </p:tgtEl>
                                        <p:attrNameLst>
                                          <p:attrName>style.visibility</p:attrName>
                                        </p:attrNameLst>
                                      </p:cBhvr>
                                      <p:to>
                                        <p:strVal val="visible"/>
                                      </p:to>
                                    </p:set>
                                    <p:animEffect transition="in" filter="fade">
                                      <p:cBhvr>
                                        <p:cTn id="59"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2" grpId="0"/>
      <p:bldP spid="153" grpId="0"/>
      <p:bldP spid="72" grpId="0" animBg="1"/>
      <p:bldP spid="44" grpId="0" animBg="1"/>
      <p:bldP spid="44" grpId="1" animBg="1"/>
      <p:bldP spid="102" grpId="0"/>
      <p:bldP spid="103" grpId="0"/>
      <p:bldP spid="119" grpId="0"/>
      <p:bldP spid="120" grpId="0"/>
      <p:bldP spid="156" grpId="0"/>
      <p:bldP spid="70" grpId="0"/>
      <p:bldP spid="65" grpId="0" animBg="1"/>
      <p:bldP spid="73" grpId="0" animBg="1"/>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Title 2">
            <a:extLst>
              <a:ext uri="{FF2B5EF4-FFF2-40B4-BE49-F238E27FC236}">
                <a16:creationId xmlns:a16="http://schemas.microsoft.com/office/drawing/2014/main" id="{AFFE8BC7-2204-479B-A141-0E182026BFFC}"/>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Knowledge</a:t>
            </a:r>
            <a:endParaRPr lang="en-US" sz="4611">
              <a:gradFill>
                <a:gsLst>
                  <a:gs pos="1250">
                    <a:srgbClr val="353535"/>
                  </a:gs>
                  <a:gs pos="100000">
                    <a:srgbClr val="353535"/>
                  </a:gs>
                </a:gsLst>
                <a:lin ang="5400000" scaled="0"/>
              </a:gradFill>
              <a:latin typeface="Segoe UI Light"/>
            </a:endParaRPr>
          </a:p>
        </p:txBody>
      </p:sp>
      <p:sp>
        <p:nvSpPr>
          <p:cNvPr id="42" name="Rectangle 41"/>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a:extLst>
              <a:ext uri="{FF2B5EF4-FFF2-40B4-BE49-F238E27FC236}">
                <a16:creationId xmlns:a16="http://schemas.microsoft.com/office/drawing/2014/main" id="{16883735-26E6-401E-83CF-141732C44F3A}"/>
              </a:ext>
            </a:extLst>
          </p:cNvPr>
          <p:cNvGrpSpPr/>
          <p:nvPr/>
        </p:nvGrpSpPr>
        <p:grpSpPr>
          <a:xfrm>
            <a:off x="864" y="254613"/>
            <a:ext cx="1188839" cy="956985"/>
            <a:chOff x="864" y="254613"/>
            <a:chExt cx="1188839" cy="956985"/>
          </a:xfrm>
        </p:grpSpPr>
        <p:sp>
          <p:nvSpPr>
            <p:cNvPr id="44" name="Rectangle 43"/>
            <p:cNvSpPr/>
            <p:nvPr/>
          </p:nvSpPr>
          <p:spPr bwMode="auto">
            <a:xfrm>
              <a:off x="864" y="254613"/>
              <a:ext cx="1188839" cy="95698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1" name="Group 31">
              <a:extLst>
                <a:ext uri="{FF2B5EF4-FFF2-40B4-BE49-F238E27FC236}">
                  <a16:creationId xmlns:a16="http://schemas.microsoft.com/office/drawing/2014/main" id="{9A15F180-3E67-49B6-845F-90137BE1FEB8}"/>
                </a:ext>
              </a:extLst>
            </p:cNvPr>
            <p:cNvGrpSpPr>
              <a:grpSpLocks noChangeAspect="1"/>
            </p:cNvGrpSpPr>
            <p:nvPr/>
          </p:nvGrpSpPr>
          <p:grpSpPr bwMode="auto">
            <a:xfrm>
              <a:off x="306387" y="445548"/>
              <a:ext cx="595981" cy="582727"/>
              <a:chOff x="1" y="-1"/>
              <a:chExt cx="2608" cy="2550"/>
            </a:xfrm>
          </p:grpSpPr>
          <p:sp>
            <p:nvSpPr>
              <p:cNvPr id="72" name="Freeform 32">
                <a:extLst>
                  <a:ext uri="{FF2B5EF4-FFF2-40B4-BE49-F238E27FC236}">
                    <a16:creationId xmlns:a16="http://schemas.microsoft.com/office/drawing/2014/main" id="{E4E0C6CC-464B-4A26-8717-502BEE9B286B}"/>
                  </a:ext>
                </a:extLst>
              </p:cNvPr>
              <p:cNvSpPr>
                <a:spLocks noEditPoints="1"/>
              </p:cNvSpPr>
              <p:nvPr/>
            </p:nvSpPr>
            <p:spPr bwMode="auto">
              <a:xfrm>
                <a:off x="1224" y="691"/>
                <a:ext cx="1385" cy="1166"/>
              </a:xfrm>
              <a:custGeom>
                <a:avLst/>
                <a:gdLst>
                  <a:gd name="T0" fmla="*/ 347 w 1385"/>
                  <a:gd name="T1" fmla="*/ 0 h 1166"/>
                  <a:gd name="T2" fmla="*/ 0 w 1385"/>
                  <a:gd name="T3" fmla="*/ 583 h 1166"/>
                  <a:gd name="T4" fmla="*/ 347 w 1385"/>
                  <a:gd name="T5" fmla="*/ 1166 h 1166"/>
                  <a:gd name="T6" fmla="*/ 1038 w 1385"/>
                  <a:gd name="T7" fmla="*/ 1166 h 1166"/>
                  <a:gd name="T8" fmla="*/ 1385 w 1385"/>
                  <a:gd name="T9" fmla="*/ 583 h 1166"/>
                  <a:gd name="T10" fmla="*/ 1038 w 1385"/>
                  <a:gd name="T11" fmla="*/ 0 h 1166"/>
                  <a:gd name="T12" fmla="*/ 347 w 1385"/>
                  <a:gd name="T13" fmla="*/ 0 h 1166"/>
                  <a:gd name="T14" fmla="*/ 233 w 1385"/>
                  <a:gd name="T15" fmla="*/ 583 h 1166"/>
                  <a:gd name="T16" fmla="*/ 462 w 1385"/>
                  <a:gd name="T17" fmla="*/ 200 h 1166"/>
                  <a:gd name="T18" fmla="*/ 923 w 1385"/>
                  <a:gd name="T19" fmla="*/ 200 h 1166"/>
                  <a:gd name="T20" fmla="*/ 1152 w 1385"/>
                  <a:gd name="T21" fmla="*/ 583 h 1166"/>
                  <a:gd name="T22" fmla="*/ 923 w 1385"/>
                  <a:gd name="T23" fmla="*/ 966 h 1166"/>
                  <a:gd name="T24" fmla="*/ 462 w 1385"/>
                  <a:gd name="T25" fmla="*/ 966 h 1166"/>
                  <a:gd name="T26" fmla="*/ 233 w 1385"/>
                  <a:gd name="T27" fmla="*/ 583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6">
                    <a:moveTo>
                      <a:pt x="347" y="0"/>
                    </a:moveTo>
                    <a:lnTo>
                      <a:pt x="0" y="583"/>
                    </a:lnTo>
                    <a:lnTo>
                      <a:pt x="347" y="1166"/>
                    </a:lnTo>
                    <a:lnTo>
                      <a:pt x="1038" y="1166"/>
                    </a:lnTo>
                    <a:lnTo>
                      <a:pt x="1385" y="583"/>
                    </a:lnTo>
                    <a:lnTo>
                      <a:pt x="1038" y="0"/>
                    </a:lnTo>
                    <a:lnTo>
                      <a:pt x="347" y="0"/>
                    </a:lnTo>
                    <a:close/>
                    <a:moveTo>
                      <a:pt x="233" y="583"/>
                    </a:moveTo>
                    <a:lnTo>
                      <a:pt x="462" y="200"/>
                    </a:lnTo>
                    <a:lnTo>
                      <a:pt x="923" y="200"/>
                    </a:lnTo>
                    <a:lnTo>
                      <a:pt x="1152" y="583"/>
                    </a:lnTo>
                    <a:lnTo>
                      <a:pt x="923" y="966"/>
                    </a:lnTo>
                    <a:lnTo>
                      <a:pt x="462" y="966"/>
                    </a:lnTo>
                    <a:lnTo>
                      <a:pt x="233" y="5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33">
                <a:extLst>
                  <a:ext uri="{FF2B5EF4-FFF2-40B4-BE49-F238E27FC236}">
                    <a16:creationId xmlns:a16="http://schemas.microsoft.com/office/drawing/2014/main" id="{BE0B0EC9-4776-4F32-ADB6-BE6288593138}"/>
                  </a:ext>
                </a:extLst>
              </p:cNvPr>
              <p:cNvSpPr>
                <a:spLocks noEditPoints="1"/>
              </p:cNvSpPr>
              <p:nvPr/>
            </p:nvSpPr>
            <p:spPr bwMode="auto">
              <a:xfrm>
                <a:off x="1" y="-1"/>
                <a:ext cx="1385" cy="1167"/>
              </a:xfrm>
              <a:custGeom>
                <a:avLst/>
                <a:gdLst>
                  <a:gd name="T0" fmla="*/ 347 w 1385"/>
                  <a:gd name="T1" fmla="*/ 0 h 1167"/>
                  <a:gd name="T2" fmla="*/ 0 w 1385"/>
                  <a:gd name="T3" fmla="*/ 583 h 1167"/>
                  <a:gd name="T4" fmla="*/ 347 w 1385"/>
                  <a:gd name="T5" fmla="*/ 1167 h 1167"/>
                  <a:gd name="T6" fmla="*/ 1038 w 1385"/>
                  <a:gd name="T7" fmla="*/ 1167 h 1167"/>
                  <a:gd name="T8" fmla="*/ 1385 w 1385"/>
                  <a:gd name="T9" fmla="*/ 583 h 1167"/>
                  <a:gd name="T10" fmla="*/ 1038 w 1385"/>
                  <a:gd name="T11" fmla="*/ 0 h 1167"/>
                  <a:gd name="T12" fmla="*/ 347 w 1385"/>
                  <a:gd name="T13" fmla="*/ 0 h 1167"/>
                  <a:gd name="T14" fmla="*/ 233 w 1385"/>
                  <a:gd name="T15" fmla="*/ 583 h 1167"/>
                  <a:gd name="T16" fmla="*/ 462 w 1385"/>
                  <a:gd name="T17" fmla="*/ 200 h 1167"/>
                  <a:gd name="T18" fmla="*/ 923 w 1385"/>
                  <a:gd name="T19" fmla="*/ 200 h 1167"/>
                  <a:gd name="T20" fmla="*/ 1152 w 1385"/>
                  <a:gd name="T21" fmla="*/ 583 h 1167"/>
                  <a:gd name="T22" fmla="*/ 923 w 1385"/>
                  <a:gd name="T23" fmla="*/ 967 h 1167"/>
                  <a:gd name="T24" fmla="*/ 462 w 1385"/>
                  <a:gd name="T25" fmla="*/ 967 h 1167"/>
                  <a:gd name="T26" fmla="*/ 233 w 1385"/>
                  <a:gd name="T27" fmla="*/ 583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3"/>
                    </a:lnTo>
                    <a:lnTo>
                      <a:pt x="347" y="1167"/>
                    </a:lnTo>
                    <a:lnTo>
                      <a:pt x="1038" y="1167"/>
                    </a:lnTo>
                    <a:lnTo>
                      <a:pt x="1385" y="583"/>
                    </a:lnTo>
                    <a:lnTo>
                      <a:pt x="1038" y="0"/>
                    </a:lnTo>
                    <a:lnTo>
                      <a:pt x="347" y="0"/>
                    </a:lnTo>
                    <a:close/>
                    <a:moveTo>
                      <a:pt x="233" y="583"/>
                    </a:moveTo>
                    <a:lnTo>
                      <a:pt x="462" y="200"/>
                    </a:lnTo>
                    <a:lnTo>
                      <a:pt x="923" y="200"/>
                    </a:lnTo>
                    <a:lnTo>
                      <a:pt x="1152" y="583"/>
                    </a:lnTo>
                    <a:lnTo>
                      <a:pt x="923" y="967"/>
                    </a:lnTo>
                    <a:lnTo>
                      <a:pt x="462" y="967"/>
                    </a:lnTo>
                    <a:lnTo>
                      <a:pt x="233" y="5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34">
                <a:extLst>
                  <a:ext uri="{FF2B5EF4-FFF2-40B4-BE49-F238E27FC236}">
                    <a16:creationId xmlns:a16="http://schemas.microsoft.com/office/drawing/2014/main" id="{250E55BF-9B5E-4AF2-941A-4E659E0F1734}"/>
                  </a:ext>
                </a:extLst>
              </p:cNvPr>
              <p:cNvSpPr>
                <a:spLocks noEditPoints="1"/>
              </p:cNvSpPr>
              <p:nvPr/>
            </p:nvSpPr>
            <p:spPr bwMode="auto">
              <a:xfrm>
                <a:off x="1" y="1382"/>
                <a:ext cx="1385" cy="1167"/>
              </a:xfrm>
              <a:custGeom>
                <a:avLst/>
                <a:gdLst>
                  <a:gd name="T0" fmla="*/ 347 w 1385"/>
                  <a:gd name="T1" fmla="*/ 0 h 1167"/>
                  <a:gd name="T2" fmla="*/ 0 w 1385"/>
                  <a:gd name="T3" fmla="*/ 584 h 1167"/>
                  <a:gd name="T4" fmla="*/ 347 w 1385"/>
                  <a:gd name="T5" fmla="*/ 1167 h 1167"/>
                  <a:gd name="T6" fmla="*/ 1038 w 1385"/>
                  <a:gd name="T7" fmla="*/ 1167 h 1167"/>
                  <a:gd name="T8" fmla="*/ 1385 w 1385"/>
                  <a:gd name="T9" fmla="*/ 584 h 1167"/>
                  <a:gd name="T10" fmla="*/ 1038 w 1385"/>
                  <a:gd name="T11" fmla="*/ 0 h 1167"/>
                  <a:gd name="T12" fmla="*/ 347 w 1385"/>
                  <a:gd name="T13" fmla="*/ 0 h 1167"/>
                  <a:gd name="T14" fmla="*/ 233 w 1385"/>
                  <a:gd name="T15" fmla="*/ 584 h 1167"/>
                  <a:gd name="T16" fmla="*/ 462 w 1385"/>
                  <a:gd name="T17" fmla="*/ 200 h 1167"/>
                  <a:gd name="T18" fmla="*/ 923 w 1385"/>
                  <a:gd name="T19" fmla="*/ 200 h 1167"/>
                  <a:gd name="T20" fmla="*/ 1152 w 1385"/>
                  <a:gd name="T21" fmla="*/ 584 h 1167"/>
                  <a:gd name="T22" fmla="*/ 923 w 1385"/>
                  <a:gd name="T23" fmla="*/ 967 h 1167"/>
                  <a:gd name="T24" fmla="*/ 462 w 1385"/>
                  <a:gd name="T25" fmla="*/ 967 h 1167"/>
                  <a:gd name="T26" fmla="*/ 233 w 1385"/>
                  <a:gd name="T27" fmla="*/ 584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4"/>
                    </a:lnTo>
                    <a:lnTo>
                      <a:pt x="347" y="1167"/>
                    </a:lnTo>
                    <a:lnTo>
                      <a:pt x="1038" y="1167"/>
                    </a:lnTo>
                    <a:lnTo>
                      <a:pt x="1385" y="584"/>
                    </a:lnTo>
                    <a:lnTo>
                      <a:pt x="1038" y="0"/>
                    </a:lnTo>
                    <a:lnTo>
                      <a:pt x="347" y="0"/>
                    </a:lnTo>
                    <a:close/>
                    <a:moveTo>
                      <a:pt x="233" y="584"/>
                    </a:moveTo>
                    <a:lnTo>
                      <a:pt x="462" y="200"/>
                    </a:lnTo>
                    <a:lnTo>
                      <a:pt x="923" y="200"/>
                    </a:lnTo>
                    <a:lnTo>
                      <a:pt x="1152" y="584"/>
                    </a:lnTo>
                    <a:lnTo>
                      <a:pt x="923" y="967"/>
                    </a:lnTo>
                    <a:lnTo>
                      <a:pt x="462" y="967"/>
                    </a:lnTo>
                    <a:lnTo>
                      <a:pt x="233" y="5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 name="Rectangle 1">
            <a:extLst>
              <a:ext uri="{FF2B5EF4-FFF2-40B4-BE49-F238E27FC236}">
                <a16:creationId xmlns:a16="http://schemas.microsoft.com/office/drawing/2014/main" id="{1D221D3F-B151-49AD-8643-3E03B47D66E9}"/>
              </a:ext>
            </a:extLst>
          </p:cNvPr>
          <p:cNvSpPr/>
          <p:nvPr/>
        </p:nvSpPr>
        <p:spPr>
          <a:xfrm>
            <a:off x="434975" y="2151727"/>
            <a:ext cx="4741503" cy="2062103"/>
          </a:xfrm>
          <a:prstGeom prst="rect">
            <a:avLst/>
          </a:prstGeom>
        </p:spPr>
        <p:txBody>
          <a:bodyPr wrap="square">
            <a:spAutoFit/>
          </a:bodyPr>
          <a:lstStyle/>
          <a:p>
            <a:r>
              <a:rPr lang="en-US" sz="3200" dirty="0">
                <a:gradFill>
                  <a:gsLst>
                    <a:gs pos="2326">
                      <a:schemeClr val="tx1"/>
                    </a:gs>
                    <a:gs pos="30000">
                      <a:schemeClr val="tx1"/>
                    </a:gs>
                  </a:gsLst>
                  <a:lin ang="5400000" scaled="1"/>
                </a:gradFill>
                <a:latin typeface="+mj-lt"/>
              </a:rPr>
              <a:t>Map complex information and data in order to solve specific tasks </a:t>
            </a:r>
          </a:p>
          <a:p>
            <a:endParaRPr lang="en-US" sz="3200" dirty="0">
              <a:gradFill>
                <a:gsLst>
                  <a:gs pos="2326">
                    <a:schemeClr val="tx1"/>
                  </a:gs>
                  <a:gs pos="30000">
                    <a:schemeClr val="tx1"/>
                  </a:gs>
                </a:gsLst>
                <a:lin ang="5400000" scaled="1"/>
              </a:gradFill>
              <a:latin typeface="+mj-lt"/>
            </a:endParaRPr>
          </a:p>
        </p:txBody>
      </p:sp>
      <p:pic>
        <p:nvPicPr>
          <p:cNvPr id="7" name="Picture 6">
            <a:extLst>
              <a:ext uri="{FF2B5EF4-FFF2-40B4-BE49-F238E27FC236}">
                <a16:creationId xmlns:a16="http://schemas.microsoft.com/office/drawing/2014/main" id="{B5B9E65D-83CA-429B-AAEB-37521980A73B}"/>
              </a:ext>
            </a:extLst>
          </p:cNvPr>
          <p:cNvPicPr>
            <a:picLocks noChangeAspect="1"/>
          </p:cNvPicPr>
          <p:nvPr/>
        </p:nvPicPr>
        <p:blipFill rotWithShape="1">
          <a:blip r:embed="rId3"/>
          <a:srcRect l="854" r="-1"/>
          <a:stretch/>
        </p:blipFill>
        <p:spPr>
          <a:xfrm>
            <a:off x="6254853" y="1339736"/>
            <a:ext cx="4072270" cy="5089639"/>
          </a:xfrm>
          <a:prstGeom prst="rect">
            <a:avLst/>
          </a:prstGeom>
        </p:spPr>
      </p:pic>
      <p:pic>
        <p:nvPicPr>
          <p:cNvPr id="8" name="Picture 7">
            <a:extLst>
              <a:ext uri="{FF2B5EF4-FFF2-40B4-BE49-F238E27FC236}">
                <a16:creationId xmlns:a16="http://schemas.microsoft.com/office/drawing/2014/main" id="{B94F5BA8-529F-473F-B4D4-4DA9F88BDCD2}"/>
              </a:ext>
            </a:extLst>
          </p:cNvPr>
          <p:cNvPicPr>
            <a:picLocks noChangeAspect="1"/>
          </p:cNvPicPr>
          <p:nvPr/>
        </p:nvPicPr>
        <p:blipFill rotWithShape="1">
          <a:blip r:embed="rId4"/>
          <a:srcRect l="368" r="309"/>
          <a:stretch/>
        </p:blipFill>
        <p:spPr>
          <a:xfrm>
            <a:off x="6258027" y="1339736"/>
            <a:ext cx="4069251" cy="5089639"/>
          </a:xfrm>
          <a:prstGeom prst="rect">
            <a:avLst/>
          </a:prstGeom>
        </p:spPr>
      </p:pic>
    </p:spTree>
    <p:extLst>
      <p:ext uri="{BB962C8B-B14F-4D97-AF65-F5344CB8AC3E}">
        <p14:creationId xmlns:p14="http://schemas.microsoft.com/office/powerpoint/2010/main" val="216099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63" presetClass="path" presetSubtype="0" decel="100000" fill="hold" nodeType="withEffect">
                                  <p:stCondLst>
                                    <p:cond delay="0"/>
                                  </p:stCondLst>
                                  <p:childTnLst>
                                    <p:animMotion origin="layout" path="M -0.02617 0 L -4.79167E-6 0 " pathEditMode="relative" rAng="0" ptsTypes="AA">
                                      <p:cBhvr>
                                        <p:cTn id="9" dur="500" fill="hold"/>
                                        <p:tgtEl>
                                          <p:spTgt spid="48"/>
                                        </p:tgtEl>
                                        <p:attrNameLst>
                                          <p:attrName>ppt_x</p:attrName>
                                          <p:attrName>ppt_y</p:attrName>
                                        </p:attrNameLst>
                                      </p:cBhvr>
                                      <p:rCtr x="1302" y="0"/>
                                    </p:animMotion>
                                  </p:childTnLst>
                                </p:cTn>
                              </p:par>
                              <p:par>
                                <p:cTn id="10" presetID="10" presetClass="entr" presetSubtype="0" fill="hold" grpId="0" nodeType="with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par>
                                <p:cTn id="13" presetID="63" presetClass="path" presetSubtype="0" decel="100000" fill="hold" grpId="1" nodeType="withEffect">
                                  <p:stCondLst>
                                    <p:cond delay="0"/>
                                  </p:stCondLst>
                                  <p:childTnLst>
                                    <p:animMotion origin="layout" path="M -0.02617 0 L -4.79167E-6 0 " pathEditMode="relative" rAng="0" ptsTypes="AA">
                                      <p:cBhvr>
                                        <p:cTn id="14" dur="500" fill="hold"/>
                                        <p:tgtEl>
                                          <p:spTgt spid="47"/>
                                        </p:tgtEl>
                                        <p:attrNameLst>
                                          <p:attrName>ppt_x</p:attrName>
                                          <p:attrName>ppt_y</p:attrName>
                                        </p:attrNameLst>
                                      </p:cBhvr>
                                      <p:rCtr x="1302" y="0"/>
                                    </p:animMotion>
                                  </p:childTnLst>
                                </p:cTn>
                              </p:par>
                              <p:par>
                                <p:cTn id="15" presetID="10"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par>
                                <p:cTn id="18" presetID="63" presetClass="path" presetSubtype="0" decel="100000" fill="hold" grpId="1" nodeType="withEffect">
                                  <p:stCondLst>
                                    <p:cond delay="0"/>
                                  </p:stCondLst>
                                  <p:childTnLst>
                                    <p:animMotion origin="layout" path="M -0.02617 1.11111E-6 L 1.875E-6 1.11111E-6 " pathEditMode="relative" rAng="0" ptsTypes="AA">
                                      <p:cBhvr>
                                        <p:cTn id="19" dur="500" fill="hold"/>
                                        <p:tgtEl>
                                          <p:spTgt spid="2"/>
                                        </p:tgtEl>
                                        <p:attrNameLst>
                                          <p:attrName>ppt_x</p:attrName>
                                          <p:attrName>ppt_y</p:attrName>
                                        </p:attrNameLst>
                                      </p:cBhvr>
                                      <p:rCtr x="1302" y="0"/>
                                    </p:animMotion>
                                  </p:childTnLst>
                                </p:cTn>
                              </p:par>
                              <p:par>
                                <p:cTn id="20" presetID="10" presetClass="entr" presetSubtype="0" fill="hold"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par>
                          <p:cTn id="23" fill="hold">
                            <p:stCondLst>
                              <p:cond delay="500"/>
                            </p:stCondLst>
                            <p:childTnLst>
                              <p:par>
                                <p:cTn id="24" presetID="10" presetClass="entr" presetSubtype="0" fill="hold" nodeType="afterEffect">
                                  <p:stCondLst>
                                    <p:cond delay="200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7" grpId="1" animBg="1"/>
      <p:bldP spid="2" grpId="0"/>
      <p:bldP spid="2" grpId="1"/>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Title 2">
            <a:extLst>
              <a:ext uri="{FF2B5EF4-FFF2-40B4-BE49-F238E27FC236}">
                <a16:creationId xmlns:a16="http://schemas.microsoft.com/office/drawing/2014/main" id="{AFFE8BC7-2204-479B-A141-0E182026BFFC}"/>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Knowledge</a:t>
            </a:r>
            <a:endParaRPr lang="en-US" sz="4611">
              <a:gradFill>
                <a:gsLst>
                  <a:gs pos="1250">
                    <a:srgbClr val="353535"/>
                  </a:gs>
                  <a:gs pos="100000">
                    <a:srgbClr val="353535"/>
                  </a:gs>
                </a:gsLst>
                <a:lin ang="5400000" scaled="0"/>
              </a:gradFill>
              <a:latin typeface="Segoe UI Light"/>
            </a:endParaRPr>
          </a:p>
        </p:txBody>
      </p:sp>
      <p:sp>
        <p:nvSpPr>
          <p:cNvPr id="123" name="Freeform 5"/>
          <p:cNvSpPr>
            <a:spLocks noEditPoints="1"/>
          </p:cNvSpPr>
          <p:nvPr/>
        </p:nvSpPr>
        <p:spPr bwMode="auto">
          <a:xfrm>
            <a:off x="2671996" y="5837447"/>
            <a:ext cx="953911" cy="950084"/>
          </a:xfrm>
          <a:custGeom>
            <a:avLst/>
            <a:gdLst>
              <a:gd name="T0" fmla="*/ 300 w 303"/>
              <a:gd name="T1" fmla="*/ 151 h 302"/>
              <a:gd name="T2" fmla="*/ 301 w 303"/>
              <a:gd name="T3" fmla="*/ 134 h 302"/>
              <a:gd name="T4" fmla="*/ 290 w 303"/>
              <a:gd name="T5" fmla="*/ 121 h 302"/>
              <a:gd name="T6" fmla="*/ 280 w 303"/>
              <a:gd name="T7" fmla="*/ 122 h 302"/>
              <a:gd name="T8" fmla="*/ 263 w 303"/>
              <a:gd name="T9" fmla="*/ 82 h 302"/>
              <a:gd name="T10" fmla="*/ 272 w 303"/>
              <a:gd name="T11" fmla="*/ 75 h 302"/>
              <a:gd name="T12" fmla="*/ 272 w 303"/>
              <a:gd name="T13" fmla="*/ 62 h 302"/>
              <a:gd name="T14" fmla="*/ 243 w 303"/>
              <a:gd name="T15" fmla="*/ 33 h 302"/>
              <a:gd name="T16" fmla="*/ 225 w 303"/>
              <a:gd name="T17" fmla="*/ 34 h 302"/>
              <a:gd name="T18" fmla="*/ 220 w 303"/>
              <a:gd name="T19" fmla="*/ 40 h 302"/>
              <a:gd name="T20" fmla="*/ 181 w 303"/>
              <a:gd name="T21" fmla="*/ 24 h 302"/>
              <a:gd name="T22" fmla="*/ 181 w 303"/>
              <a:gd name="T23" fmla="*/ 14 h 302"/>
              <a:gd name="T24" fmla="*/ 171 w 303"/>
              <a:gd name="T25" fmla="*/ 1 h 302"/>
              <a:gd name="T26" fmla="*/ 132 w 303"/>
              <a:gd name="T27" fmla="*/ 1 h 302"/>
              <a:gd name="T28" fmla="*/ 120 w 303"/>
              <a:gd name="T29" fmla="*/ 14 h 302"/>
              <a:gd name="T30" fmla="*/ 121 w 303"/>
              <a:gd name="T31" fmla="*/ 23 h 302"/>
              <a:gd name="T32" fmla="*/ 81 w 303"/>
              <a:gd name="T33" fmla="*/ 40 h 302"/>
              <a:gd name="T34" fmla="*/ 74 w 303"/>
              <a:gd name="T35" fmla="*/ 31 h 302"/>
              <a:gd name="T36" fmla="*/ 61 w 303"/>
              <a:gd name="T37" fmla="*/ 31 h 302"/>
              <a:gd name="T38" fmla="*/ 32 w 303"/>
              <a:gd name="T39" fmla="*/ 59 h 302"/>
              <a:gd name="T40" fmla="*/ 33 w 303"/>
              <a:gd name="T41" fmla="*/ 77 h 302"/>
              <a:gd name="T42" fmla="*/ 39 w 303"/>
              <a:gd name="T43" fmla="*/ 82 h 302"/>
              <a:gd name="T44" fmla="*/ 23 w 303"/>
              <a:gd name="T45" fmla="*/ 122 h 302"/>
              <a:gd name="T46" fmla="*/ 11 w 303"/>
              <a:gd name="T47" fmla="*/ 121 h 302"/>
              <a:gd name="T48" fmla="*/ 9 w 303"/>
              <a:gd name="T49" fmla="*/ 121 h 302"/>
              <a:gd name="T50" fmla="*/ 1 w 303"/>
              <a:gd name="T51" fmla="*/ 131 h 302"/>
              <a:gd name="T52" fmla="*/ 1 w 303"/>
              <a:gd name="T53" fmla="*/ 169 h 302"/>
              <a:gd name="T54" fmla="*/ 12 w 303"/>
              <a:gd name="T55" fmla="*/ 181 h 302"/>
              <a:gd name="T56" fmla="*/ 22 w 303"/>
              <a:gd name="T57" fmla="*/ 181 h 302"/>
              <a:gd name="T58" fmla="*/ 38 w 303"/>
              <a:gd name="T59" fmla="*/ 220 h 302"/>
              <a:gd name="T60" fmla="*/ 38 w 303"/>
              <a:gd name="T61" fmla="*/ 220 h 302"/>
              <a:gd name="T62" fmla="*/ 30 w 303"/>
              <a:gd name="T63" fmla="*/ 227 h 302"/>
              <a:gd name="T64" fmla="*/ 29 w 303"/>
              <a:gd name="T65" fmla="*/ 240 h 302"/>
              <a:gd name="T66" fmla="*/ 61 w 303"/>
              <a:gd name="T67" fmla="*/ 271 h 302"/>
              <a:gd name="T68" fmla="*/ 74 w 303"/>
              <a:gd name="T69" fmla="*/ 271 h 302"/>
              <a:gd name="T70" fmla="*/ 81 w 303"/>
              <a:gd name="T71" fmla="*/ 264 h 302"/>
              <a:gd name="T72" fmla="*/ 122 w 303"/>
              <a:gd name="T73" fmla="*/ 281 h 302"/>
              <a:gd name="T74" fmla="*/ 121 w 303"/>
              <a:gd name="T75" fmla="*/ 291 h 302"/>
              <a:gd name="T76" fmla="*/ 130 w 303"/>
              <a:gd name="T77" fmla="*/ 301 h 302"/>
              <a:gd name="T78" fmla="*/ 168 w 303"/>
              <a:gd name="T79" fmla="*/ 301 h 302"/>
              <a:gd name="T80" fmla="*/ 180 w 303"/>
              <a:gd name="T81" fmla="*/ 286 h 302"/>
              <a:gd name="T82" fmla="*/ 180 w 303"/>
              <a:gd name="T83" fmla="*/ 281 h 302"/>
              <a:gd name="T84" fmla="*/ 221 w 303"/>
              <a:gd name="T85" fmla="*/ 264 h 302"/>
              <a:gd name="T86" fmla="*/ 227 w 303"/>
              <a:gd name="T87" fmla="*/ 271 h 302"/>
              <a:gd name="T88" fmla="*/ 241 w 303"/>
              <a:gd name="T89" fmla="*/ 271 h 302"/>
              <a:gd name="T90" fmla="*/ 271 w 303"/>
              <a:gd name="T91" fmla="*/ 242 h 302"/>
              <a:gd name="T92" fmla="*/ 271 w 303"/>
              <a:gd name="T93" fmla="*/ 228 h 302"/>
              <a:gd name="T94" fmla="*/ 263 w 303"/>
              <a:gd name="T95" fmla="*/ 222 h 302"/>
              <a:gd name="T96" fmla="*/ 280 w 303"/>
              <a:gd name="T97" fmla="*/ 181 h 302"/>
              <a:gd name="T98" fmla="*/ 299 w 303"/>
              <a:gd name="T99" fmla="*/ 179 h 302"/>
              <a:gd name="T100" fmla="*/ 300 w 303"/>
              <a:gd name="T101" fmla="*/ 151 h 302"/>
              <a:gd name="T102" fmla="*/ 151 w 303"/>
              <a:gd name="T103" fmla="*/ 230 h 302"/>
              <a:gd name="T104" fmla="*/ 72 w 303"/>
              <a:gd name="T105" fmla="*/ 151 h 302"/>
              <a:gd name="T106" fmla="*/ 151 w 303"/>
              <a:gd name="T107" fmla="*/ 72 h 302"/>
              <a:gd name="T108" fmla="*/ 230 w 303"/>
              <a:gd name="T109" fmla="*/ 151 h 302"/>
              <a:gd name="T110" fmla="*/ 151 w 303"/>
              <a:gd name="T111" fmla="*/ 23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302">
                <a:moveTo>
                  <a:pt x="300" y="151"/>
                </a:moveTo>
                <a:cubicBezTo>
                  <a:pt x="301" y="146"/>
                  <a:pt x="300" y="140"/>
                  <a:pt x="301" y="134"/>
                </a:cubicBezTo>
                <a:cubicBezTo>
                  <a:pt x="302" y="124"/>
                  <a:pt x="299" y="120"/>
                  <a:pt x="290" y="121"/>
                </a:cubicBezTo>
                <a:cubicBezTo>
                  <a:pt x="287" y="121"/>
                  <a:pt x="283" y="122"/>
                  <a:pt x="280" y="122"/>
                </a:cubicBezTo>
                <a:cubicBezTo>
                  <a:pt x="276" y="108"/>
                  <a:pt x="270" y="94"/>
                  <a:pt x="263" y="82"/>
                </a:cubicBezTo>
                <a:cubicBezTo>
                  <a:pt x="265" y="79"/>
                  <a:pt x="269" y="77"/>
                  <a:pt x="272" y="75"/>
                </a:cubicBezTo>
                <a:cubicBezTo>
                  <a:pt x="277" y="70"/>
                  <a:pt x="278" y="67"/>
                  <a:pt x="272" y="62"/>
                </a:cubicBezTo>
                <a:cubicBezTo>
                  <a:pt x="262" y="53"/>
                  <a:pt x="252" y="44"/>
                  <a:pt x="243" y="33"/>
                </a:cubicBezTo>
                <a:cubicBezTo>
                  <a:pt x="237" y="26"/>
                  <a:pt x="231" y="25"/>
                  <a:pt x="225" y="34"/>
                </a:cubicBezTo>
                <a:cubicBezTo>
                  <a:pt x="224" y="36"/>
                  <a:pt x="222" y="38"/>
                  <a:pt x="220" y="40"/>
                </a:cubicBezTo>
                <a:cubicBezTo>
                  <a:pt x="208" y="32"/>
                  <a:pt x="195" y="27"/>
                  <a:pt x="181" y="24"/>
                </a:cubicBezTo>
                <a:cubicBezTo>
                  <a:pt x="181" y="21"/>
                  <a:pt x="180" y="18"/>
                  <a:pt x="181" y="14"/>
                </a:cubicBezTo>
                <a:cubicBezTo>
                  <a:pt x="183" y="4"/>
                  <a:pt x="179" y="0"/>
                  <a:pt x="171" y="1"/>
                </a:cubicBezTo>
                <a:cubicBezTo>
                  <a:pt x="158" y="2"/>
                  <a:pt x="145" y="2"/>
                  <a:pt x="132" y="1"/>
                </a:cubicBezTo>
                <a:cubicBezTo>
                  <a:pt x="123" y="1"/>
                  <a:pt x="120" y="4"/>
                  <a:pt x="120" y="14"/>
                </a:cubicBezTo>
                <a:cubicBezTo>
                  <a:pt x="121" y="17"/>
                  <a:pt x="121" y="20"/>
                  <a:pt x="121" y="23"/>
                </a:cubicBezTo>
                <a:cubicBezTo>
                  <a:pt x="107" y="27"/>
                  <a:pt x="93" y="32"/>
                  <a:pt x="81" y="40"/>
                </a:cubicBezTo>
                <a:cubicBezTo>
                  <a:pt x="79" y="37"/>
                  <a:pt x="77" y="34"/>
                  <a:pt x="74" y="31"/>
                </a:cubicBezTo>
                <a:cubicBezTo>
                  <a:pt x="69" y="25"/>
                  <a:pt x="66" y="26"/>
                  <a:pt x="61" y="31"/>
                </a:cubicBezTo>
                <a:cubicBezTo>
                  <a:pt x="52" y="41"/>
                  <a:pt x="42" y="51"/>
                  <a:pt x="32" y="59"/>
                </a:cubicBezTo>
                <a:cubicBezTo>
                  <a:pt x="23" y="67"/>
                  <a:pt x="25" y="71"/>
                  <a:pt x="33" y="77"/>
                </a:cubicBezTo>
                <a:cubicBezTo>
                  <a:pt x="34" y="79"/>
                  <a:pt x="37" y="80"/>
                  <a:pt x="39" y="82"/>
                </a:cubicBezTo>
                <a:cubicBezTo>
                  <a:pt x="32" y="94"/>
                  <a:pt x="26" y="107"/>
                  <a:pt x="23" y="122"/>
                </a:cubicBezTo>
                <a:cubicBezTo>
                  <a:pt x="19" y="122"/>
                  <a:pt x="14" y="120"/>
                  <a:pt x="11" y="121"/>
                </a:cubicBezTo>
                <a:cubicBezTo>
                  <a:pt x="10" y="121"/>
                  <a:pt x="10" y="121"/>
                  <a:pt x="9" y="121"/>
                </a:cubicBezTo>
                <a:cubicBezTo>
                  <a:pt x="2" y="120"/>
                  <a:pt x="1" y="124"/>
                  <a:pt x="1" y="131"/>
                </a:cubicBezTo>
                <a:cubicBezTo>
                  <a:pt x="2" y="144"/>
                  <a:pt x="2" y="157"/>
                  <a:pt x="1" y="169"/>
                </a:cubicBezTo>
                <a:cubicBezTo>
                  <a:pt x="0" y="179"/>
                  <a:pt x="4" y="183"/>
                  <a:pt x="12" y="181"/>
                </a:cubicBezTo>
                <a:cubicBezTo>
                  <a:pt x="16" y="180"/>
                  <a:pt x="19" y="180"/>
                  <a:pt x="22" y="181"/>
                </a:cubicBezTo>
                <a:cubicBezTo>
                  <a:pt x="25" y="195"/>
                  <a:pt x="31" y="208"/>
                  <a:pt x="38" y="220"/>
                </a:cubicBezTo>
                <a:cubicBezTo>
                  <a:pt x="38" y="220"/>
                  <a:pt x="38" y="220"/>
                  <a:pt x="38" y="220"/>
                </a:cubicBezTo>
                <a:cubicBezTo>
                  <a:pt x="35" y="222"/>
                  <a:pt x="33" y="225"/>
                  <a:pt x="30" y="227"/>
                </a:cubicBezTo>
                <a:cubicBezTo>
                  <a:pt x="24" y="231"/>
                  <a:pt x="23" y="234"/>
                  <a:pt x="29" y="240"/>
                </a:cubicBezTo>
                <a:cubicBezTo>
                  <a:pt x="40" y="250"/>
                  <a:pt x="50" y="261"/>
                  <a:pt x="61" y="271"/>
                </a:cubicBezTo>
                <a:cubicBezTo>
                  <a:pt x="66" y="277"/>
                  <a:pt x="69" y="277"/>
                  <a:pt x="74" y="271"/>
                </a:cubicBezTo>
                <a:cubicBezTo>
                  <a:pt x="76" y="269"/>
                  <a:pt x="78" y="266"/>
                  <a:pt x="81" y="264"/>
                </a:cubicBezTo>
                <a:cubicBezTo>
                  <a:pt x="93" y="272"/>
                  <a:pt x="107" y="277"/>
                  <a:pt x="122" y="281"/>
                </a:cubicBezTo>
                <a:cubicBezTo>
                  <a:pt x="122" y="283"/>
                  <a:pt x="121" y="286"/>
                  <a:pt x="121" y="291"/>
                </a:cubicBezTo>
                <a:cubicBezTo>
                  <a:pt x="119" y="299"/>
                  <a:pt x="124" y="301"/>
                  <a:pt x="130" y="301"/>
                </a:cubicBezTo>
                <a:cubicBezTo>
                  <a:pt x="143" y="300"/>
                  <a:pt x="155" y="300"/>
                  <a:pt x="168" y="301"/>
                </a:cubicBezTo>
                <a:cubicBezTo>
                  <a:pt x="178" y="302"/>
                  <a:pt x="182" y="298"/>
                  <a:pt x="180" y="286"/>
                </a:cubicBezTo>
                <a:cubicBezTo>
                  <a:pt x="180" y="284"/>
                  <a:pt x="180" y="282"/>
                  <a:pt x="180" y="281"/>
                </a:cubicBezTo>
                <a:cubicBezTo>
                  <a:pt x="195" y="278"/>
                  <a:pt x="209" y="272"/>
                  <a:pt x="221" y="264"/>
                </a:cubicBezTo>
                <a:cubicBezTo>
                  <a:pt x="223" y="265"/>
                  <a:pt x="225" y="268"/>
                  <a:pt x="227" y="271"/>
                </a:cubicBezTo>
                <a:cubicBezTo>
                  <a:pt x="231" y="277"/>
                  <a:pt x="235" y="278"/>
                  <a:pt x="241" y="271"/>
                </a:cubicBezTo>
                <a:cubicBezTo>
                  <a:pt x="250" y="261"/>
                  <a:pt x="261" y="251"/>
                  <a:pt x="271" y="242"/>
                </a:cubicBezTo>
                <a:cubicBezTo>
                  <a:pt x="276" y="237"/>
                  <a:pt x="278" y="232"/>
                  <a:pt x="271" y="228"/>
                </a:cubicBezTo>
                <a:cubicBezTo>
                  <a:pt x="267" y="226"/>
                  <a:pt x="265" y="224"/>
                  <a:pt x="263" y="222"/>
                </a:cubicBezTo>
                <a:cubicBezTo>
                  <a:pt x="271" y="209"/>
                  <a:pt x="277" y="196"/>
                  <a:pt x="280" y="181"/>
                </a:cubicBezTo>
                <a:cubicBezTo>
                  <a:pt x="287" y="181"/>
                  <a:pt x="296" y="185"/>
                  <a:pt x="299" y="179"/>
                </a:cubicBezTo>
                <a:cubicBezTo>
                  <a:pt x="303" y="172"/>
                  <a:pt x="300" y="161"/>
                  <a:pt x="300" y="151"/>
                </a:cubicBezTo>
                <a:close/>
                <a:moveTo>
                  <a:pt x="151" y="230"/>
                </a:moveTo>
                <a:cubicBezTo>
                  <a:pt x="107" y="230"/>
                  <a:pt x="72" y="195"/>
                  <a:pt x="72" y="151"/>
                </a:cubicBezTo>
                <a:cubicBezTo>
                  <a:pt x="72" y="107"/>
                  <a:pt x="107" y="72"/>
                  <a:pt x="151" y="72"/>
                </a:cubicBezTo>
                <a:cubicBezTo>
                  <a:pt x="195" y="72"/>
                  <a:pt x="230" y="107"/>
                  <a:pt x="230" y="151"/>
                </a:cubicBezTo>
                <a:cubicBezTo>
                  <a:pt x="230" y="195"/>
                  <a:pt x="195" y="230"/>
                  <a:pt x="151" y="230"/>
                </a:cubicBez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914139">
              <a:defRPr/>
            </a:pPr>
            <a:endParaRPr lang="en-US" sz="1371">
              <a:solidFill>
                <a:srgbClr val="353535"/>
              </a:solidFill>
              <a:latin typeface="Segoe UI Semilight"/>
            </a:endParaRPr>
          </a:p>
        </p:txBody>
      </p:sp>
      <p:sp>
        <p:nvSpPr>
          <p:cNvPr id="42" name="Rectangle 41"/>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TextBox 60"/>
          <p:cNvSpPr txBox="1"/>
          <p:nvPr/>
        </p:nvSpPr>
        <p:spPr>
          <a:xfrm>
            <a:off x="2787990" y="3568831"/>
            <a:ext cx="285081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5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ustom Decision</a:t>
            </a:r>
          </a:p>
        </p:txBody>
      </p:sp>
      <p:sp>
        <p:nvSpPr>
          <p:cNvPr id="64" name="Rectangle 63"/>
          <p:cNvSpPr/>
          <p:nvPr/>
        </p:nvSpPr>
        <p:spPr>
          <a:xfrm>
            <a:off x="2978491" y="3980760"/>
            <a:ext cx="2469810" cy="674031"/>
          </a:xfrm>
          <a:prstGeom prst="rect">
            <a:avLst/>
          </a:prstGeom>
        </p:spPr>
        <p:txBody>
          <a:bodyPr wrap="square">
            <a:spAutoFit/>
          </a:bodyPr>
          <a:lstStyle/>
          <a:p>
            <a:pPr algn="ctr" defTabSz="914139">
              <a:lnSpc>
                <a:spcPct val="90000"/>
              </a:lnSpc>
              <a:spcAft>
                <a:spcPts val="575"/>
              </a:spcAft>
              <a:defRPr/>
            </a:pPr>
            <a: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reate custom experiences with adaptive, contextual decision-making</a:t>
            </a:r>
          </a:p>
        </p:txBody>
      </p:sp>
      <p:sp>
        <p:nvSpPr>
          <p:cNvPr id="43" name="TextBox 42">
            <a:extLst>
              <a:ext uri="{FF2B5EF4-FFF2-40B4-BE49-F238E27FC236}">
                <a16:creationId xmlns:a16="http://schemas.microsoft.com/office/drawing/2014/main" id="{7291256A-E2CE-4416-A7CF-BD83E4D38FB1}"/>
              </a:ext>
            </a:extLst>
          </p:cNvPr>
          <p:cNvSpPr txBox="1"/>
          <p:nvPr/>
        </p:nvSpPr>
        <p:spPr>
          <a:xfrm>
            <a:off x="6691902" y="3568831"/>
            <a:ext cx="256198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err="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QnA</a:t>
            </a: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 Maker</a:t>
            </a:r>
          </a:p>
        </p:txBody>
      </p:sp>
      <p:sp>
        <p:nvSpPr>
          <p:cNvPr id="45" name="Rectangle 44">
            <a:extLst>
              <a:ext uri="{FF2B5EF4-FFF2-40B4-BE49-F238E27FC236}">
                <a16:creationId xmlns:a16="http://schemas.microsoft.com/office/drawing/2014/main" id="{6ECB4B9C-488A-44F4-A438-DBAA57B31A46}"/>
              </a:ext>
            </a:extLst>
          </p:cNvPr>
          <p:cNvSpPr/>
          <p:nvPr/>
        </p:nvSpPr>
        <p:spPr>
          <a:xfrm>
            <a:off x="6658915" y="3980760"/>
            <a:ext cx="2627960" cy="674031"/>
          </a:xfrm>
          <a:prstGeom prst="rect">
            <a:avLst/>
          </a:prstGeom>
        </p:spPr>
        <p:txBody>
          <a:bodyPr wrap="square">
            <a:spAutoFit/>
          </a:bodyPr>
          <a:lstStyle/>
          <a:p>
            <a:pPr algn="ctr" defTabSz="914139">
              <a:lnSpc>
                <a:spcPct val="90000"/>
              </a:lnSpc>
              <a:spcAft>
                <a:spcPts val="575"/>
              </a:spcAft>
              <a:defRPr/>
            </a:pPr>
            <a: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till information into conversational, easy-to-navigate answers</a:t>
            </a:r>
          </a:p>
        </p:txBody>
      </p:sp>
      <p:grpSp>
        <p:nvGrpSpPr>
          <p:cNvPr id="54" name="Group 8">
            <a:extLst>
              <a:ext uri="{FF2B5EF4-FFF2-40B4-BE49-F238E27FC236}">
                <a16:creationId xmlns:a16="http://schemas.microsoft.com/office/drawing/2014/main" id="{DF5983E9-3710-4D53-8AFA-E5F4C43E03A7}"/>
              </a:ext>
            </a:extLst>
          </p:cNvPr>
          <p:cNvGrpSpPr>
            <a:grpSpLocks noChangeAspect="1"/>
          </p:cNvGrpSpPr>
          <p:nvPr/>
        </p:nvGrpSpPr>
        <p:grpSpPr bwMode="auto">
          <a:xfrm>
            <a:off x="3886971" y="2738706"/>
            <a:ext cx="652848" cy="578655"/>
            <a:chOff x="0" y="2"/>
            <a:chExt cx="2675" cy="2371"/>
          </a:xfrm>
          <a:solidFill>
            <a:srgbClr val="047CDA"/>
          </a:solidFill>
        </p:grpSpPr>
        <p:sp>
          <p:nvSpPr>
            <p:cNvPr id="55" name="Freeform 9">
              <a:extLst>
                <a:ext uri="{FF2B5EF4-FFF2-40B4-BE49-F238E27FC236}">
                  <a16:creationId xmlns:a16="http://schemas.microsoft.com/office/drawing/2014/main" id="{6C81B3DE-81B7-46DA-9B6A-032195D05531}"/>
                </a:ext>
              </a:extLst>
            </p:cNvPr>
            <p:cNvSpPr>
              <a:spLocks noEditPoints="1"/>
            </p:cNvSpPr>
            <p:nvPr/>
          </p:nvSpPr>
          <p:spPr bwMode="auto">
            <a:xfrm>
              <a:off x="0" y="1329"/>
              <a:ext cx="2413" cy="1044"/>
            </a:xfrm>
            <a:custGeom>
              <a:avLst/>
              <a:gdLst>
                <a:gd name="T0" fmla="*/ 670 w 2413"/>
                <a:gd name="T1" fmla="*/ 0 h 1044"/>
                <a:gd name="T2" fmla="*/ 0 w 2413"/>
                <a:gd name="T3" fmla="*/ 523 h 1044"/>
                <a:gd name="T4" fmla="*/ 670 w 2413"/>
                <a:gd name="T5" fmla="*/ 1044 h 1044"/>
                <a:gd name="T6" fmla="*/ 2413 w 2413"/>
                <a:gd name="T7" fmla="*/ 1044 h 1044"/>
                <a:gd name="T8" fmla="*/ 2413 w 2413"/>
                <a:gd name="T9" fmla="*/ 0 h 1044"/>
                <a:gd name="T10" fmla="*/ 670 w 2413"/>
                <a:gd name="T11" fmla="*/ 0 h 1044"/>
                <a:gd name="T12" fmla="*/ 308 w 2413"/>
                <a:gd name="T13" fmla="*/ 523 h 1044"/>
                <a:gd name="T14" fmla="*/ 734 w 2413"/>
                <a:gd name="T15" fmla="*/ 190 h 1044"/>
                <a:gd name="T16" fmla="*/ 2223 w 2413"/>
                <a:gd name="T17" fmla="*/ 190 h 1044"/>
                <a:gd name="T18" fmla="*/ 2223 w 2413"/>
                <a:gd name="T19" fmla="*/ 855 h 1044"/>
                <a:gd name="T20" fmla="*/ 734 w 2413"/>
                <a:gd name="T21" fmla="*/ 855 h 1044"/>
                <a:gd name="T22" fmla="*/ 308 w 2413"/>
                <a:gd name="T23" fmla="*/ 523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13" h="1044">
                  <a:moveTo>
                    <a:pt x="670" y="0"/>
                  </a:moveTo>
                  <a:lnTo>
                    <a:pt x="0" y="523"/>
                  </a:lnTo>
                  <a:lnTo>
                    <a:pt x="670" y="1044"/>
                  </a:lnTo>
                  <a:lnTo>
                    <a:pt x="2413" y="1044"/>
                  </a:lnTo>
                  <a:lnTo>
                    <a:pt x="2413" y="0"/>
                  </a:lnTo>
                  <a:lnTo>
                    <a:pt x="670" y="0"/>
                  </a:lnTo>
                  <a:close/>
                  <a:moveTo>
                    <a:pt x="308" y="523"/>
                  </a:moveTo>
                  <a:lnTo>
                    <a:pt x="734" y="190"/>
                  </a:lnTo>
                  <a:lnTo>
                    <a:pt x="2223" y="190"/>
                  </a:lnTo>
                  <a:lnTo>
                    <a:pt x="2223" y="855"/>
                  </a:lnTo>
                  <a:lnTo>
                    <a:pt x="734" y="855"/>
                  </a:lnTo>
                  <a:lnTo>
                    <a:pt x="308" y="5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0">
              <a:extLst>
                <a:ext uri="{FF2B5EF4-FFF2-40B4-BE49-F238E27FC236}">
                  <a16:creationId xmlns:a16="http://schemas.microsoft.com/office/drawing/2014/main" id="{FC66A43B-D86A-4D19-A5AE-A329E8BED019}"/>
                </a:ext>
              </a:extLst>
            </p:cNvPr>
            <p:cNvSpPr>
              <a:spLocks noEditPoints="1"/>
            </p:cNvSpPr>
            <p:nvPr/>
          </p:nvSpPr>
          <p:spPr bwMode="auto">
            <a:xfrm>
              <a:off x="237" y="2"/>
              <a:ext cx="2438" cy="1044"/>
            </a:xfrm>
            <a:custGeom>
              <a:avLst/>
              <a:gdLst>
                <a:gd name="T0" fmla="*/ 0 w 2438"/>
                <a:gd name="T1" fmla="*/ 0 h 1044"/>
                <a:gd name="T2" fmla="*/ 0 w 2438"/>
                <a:gd name="T3" fmla="*/ 1044 h 1044"/>
                <a:gd name="T4" fmla="*/ 1768 w 2438"/>
                <a:gd name="T5" fmla="*/ 1044 h 1044"/>
                <a:gd name="T6" fmla="*/ 2438 w 2438"/>
                <a:gd name="T7" fmla="*/ 521 h 1044"/>
                <a:gd name="T8" fmla="*/ 1768 w 2438"/>
                <a:gd name="T9" fmla="*/ 0 h 1044"/>
                <a:gd name="T10" fmla="*/ 0 w 2438"/>
                <a:gd name="T11" fmla="*/ 0 h 1044"/>
                <a:gd name="T12" fmla="*/ 189 w 2438"/>
                <a:gd name="T13" fmla="*/ 190 h 1044"/>
                <a:gd name="T14" fmla="*/ 1704 w 2438"/>
                <a:gd name="T15" fmla="*/ 190 h 1044"/>
                <a:gd name="T16" fmla="*/ 2130 w 2438"/>
                <a:gd name="T17" fmla="*/ 521 h 1044"/>
                <a:gd name="T18" fmla="*/ 1704 w 2438"/>
                <a:gd name="T19" fmla="*/ 854 h 1044"/>
                <a:gd name="T20" fmla="*/ 189 w 2438"/>
                <a:gd name="T21" fmla="*/ 854 h 1044"/>
                <a:gd name="T22" fmla="*/ 189 w 2438"/>
                <a:gd name="T23" fmla="*/ 190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8" h="1044">
                  <a:moveTo>
                    <a:pt x="0" y="0"/>
                  </a:moveTo>
                  <a:lnTo>
                    <a:pt x="0" y="1044"/>
                  </a:lnTo>
                  <a:lnTo>
                    <a:pt x="1768" y="1044"/>
                  </a:lnTo>
                  <a:lnTo>
                    <a:pt x="2438" y="521"/>
                  </a:lnTo>
                  <a:lnTo>
                    <a:pt x="1768" y="0"/>
                  </a:lnTo>
                  <a:lnTo>
                    <a:pt x="0" y="0"/>
                  </a:lnTo>
                  <a:close/>
                  <a:moveTo>
                    <a:pt x="189" y="190"/>
                  </a:moveTo>
                  <a:lnTo>
                    <a:pt x="1704" y="190"/>
                  </a:lnTo>
                  <a:lnTo>
                    <a:pt x="2130" y="521"/>
                  </a:lnTo>
                  <a:lnTo>
                    <a:pt x="1704" y="854"/>
                  </a:lnTo>
                  <a:lnTo>
                    <a:pt x="189" y="854"/>
                  </a:lnTo>
                  <a:lnTo>
                    <a:pt x="189"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3" name="Freeform 23">
            <a:extLst>
              <a:ext uri="{FF2B5EF4-FFF2-40B4-BE49-F238E27FC236}">
                <a16:creationId xmlns:a16="http://schemas.microsoft.com/office/drawing/2014/main" id="{A11C8871-D569-4613-AB3C-4CC03EA5F20A}"/>
              </a:ext>
            </a:extLst>
          </p:cNvPr>
          <p:cNvSpPr>
            <a:spLocks noEditPoints="1"/>
          </p:cNvSpPr>
          <p:nvPr/>
        </p:nvSpPr>
        <p:spPr bwMode="auto">
          <a:xfrm>
            <a:off x="7610913" y="2695329"/>
            <a:ext cx="723964" cy="665408"/>
          </a:xfrm>
          <a:custGeom>
            <a:avLst/>
            <a:gdLst>
              <a:gd name="T0" fmla="*/ 1142 w 1308"/>
              <a:gd name="T1" fmla="*/ 686 h 1200"/>
              <a:gd name="T2" fmla="*/ 982 w 1308"/>
              <a:gd name="T3" fmla="*/ 616 h 1200"/>
              <a:gd name="T4" fmla="*/ 965 w 1308"/>
              <a:gd name="T5" fmla="*/ 617 h 1200"/>
              <a:gd name="T6" fmla="*/ 958 w 1308"/>
              <a:gd name="T7" fmla="*/ 617 h 1200"/>
              <a:gd name="T8" fmla="*/ 629 w 1308"/>
              <a:gd name="T9" fmla="*/ 343 h 1200"/>
              <a:gd name="T10" fmla="*/ 434 w 1308"/>
              <a:gd name="T11" fmla="*/ 343 h 1200"/>
              <a:gd name="T12" fmla="*/ 679 w 1308"/>
              <a:gd name="T13" fmla="*/ 91 h 1200"/>
              <a:gd name="T14" fmla="*/ 965 w 1308"/>
              <a:gd name="T15" fmla="*/ 91 h 1200"/>
              <a:gd name="T16" fmla="*/ 1210 w 1308"/>
              <a:gd name="T17" fmla="*/ 344 h 1200"/>
              <a:gd name="T18" fmla="*/ 1210 w 1308"/>
              <a:gd name="T19" fmla="*/ 364 h 1200"/>
              <a:gd name="T20" fmla="*/ 1098 w 1308"/>
              <a:gd name="T21" fmla="*/ 576 h 1200"/>
              <a:gd name="T22" fmla="*/ 1142 w 1308"/>
              <a:gd name="T23" fmla="*/ 686 h 1200"/>
              <a:gd name="T24" fmla="*/ 629 w 1308"/>
              <a:gd name="T25" fmla="*/ 960 h 1200"/>
              <a:gd name="T26" fmla="*/ 343 w 1308"/>
              <a:gd name="T27" fmla="*/ 960 h 1200"/>
              <a:gd name="T28" fmla="*/ 326 w 1308"/>
              <a:gd name="T29" fmla="*/ 959 h 1200"/>
              <a:gd name="T30" fmla="*/ 166 w 1308"/>
              <a:gd name="T31" fmla="*/ 1028 h 1200"/>
              <a:gd name="T32" fmla="*/ 210 w 1308"/>
              <a:gd name="T33" fmla="*/ 919 h 1200"/>
              <a:gd name="T34" fmla="*/ 98 w 1308"/>
              <a:gd name="T35" fmla="*/ 707 h 1200"/>
              <a:gd name="T36" fmla="*/ 98 w 1308"/>
              <a:gd name="T37" fmla="*/ 687 h 1200"/>
              <a:gd name="T38" fmla="*/ 343 w 1308"/>
              <a:gd name="T39" fmla="*/ 434 h 1200"/>
              <a:gd name="T40" fmla="*/ 350 w 1308"/>
              <a:gd name="T41" fmla="*/ 434 h 1200"/>
              <a:gd name="T42" fmla="*/ 444 w 1308"/>
              <a:gd name="T43" fmla="*/ 434 h 1200"/>
              <a:gd name="T44" fmla="*/ 629 w 1308"/>
              <a:gd name="T45" fmla="*/ 434 h 1200"/>
              <a:gd name="T46" fmla="*/ 864 w 1308"/>
              <a:gd name="T47" fmla="*/ 617 h 1200"/>
              <a:gd name="T48" fmla="*/ 874 w 1308"/>
              <a:gd name="T49" fmla="*/ 687 h 1200"/>
              <a:gd name="T50" fmla="*/ 874 w 1308"/>
              <a:gd name="T51" fmla="*/ 707 h 1200"/>
              <a:gd name="T52" fmla="*/ 874 w 1308"/>
              <a:gd name="T53" fmla="*/ 709 h 1200"/>
              <a:gd name="T54" fmla="*/ 629 w 1308"/>
              <a:gd name="T55" fmla="*/ 960 h 1200"/>
              <a:gd name="T56" fmla="*/ 1207 w 1308"/>
              <a:gd name="T57" fmla="*/ 603 h 1200"/>
              <a:gd name="T58" fmla="*/ 1301 w 1308"/>
              <a:gd name="T59" fmla="*/ 364 h 1200"/>
              <a:gd name="T60" fmla="*/ 1301 w 1308"/>
              <a:gd name="T61" fmla="*/ 344 h 1200"/>
              <a:gd name="T62" fmla="*/ 965 w 1308"/>
              <a:gd name="T63" fmla="*/ 0 h 1200"/>
              <a:gd name="T64" fmla="*/ 679 w 1308"/>
              <a:gd name="T65" fmla="*/ 0 h 1200"/>
              <a:gd name="T66" fmla="*/ 343 w 1308"/>
              <a:gd name="T67" fmla="*/ 343 h 1200"/>
              <a:gd name="T68" fmla="*/ 7 w 1308"/>
              <a:gd name="T69" fmla="*/ 687 h 1200"/>
              <a:gd name="T70" fmla="*/ 7 w 1308"/>
              <a:gd name="T71" fmla="*/ 707 h 1200"/>
              <a:gd name="T72" fmla="*/ 101 w 1308"/>
              <a:gd name="T73" fmla="*/ 946 h 1200"/>
              <a:gd name="T74" fmla="*/ 0 w 1308"/>
              <a:gd name="T75" fmla="*/ 1200 h 1200"/>
              <a:gd name="T76" fmla="*/ 343 w 1308"/>
              <a:gd name="T77" fmla="*/ 1051 h 1200"/>
              <a:gd name="T78" fmla="*/ 629 w 1308"/>
              <a:gd name="T79" fmla="*/ 1051 h 1200"/>
              <a:gd name="T80" fmla="*/ 965 w 1308"/>
              <a:gd name="T81" fmla="*/ 709 h 1200"/>
              <a:gd name="T82" fmla="*/ 1308 w 1308"/>
              <a:gd name="T83" fmla="*/ 857 h 1200"/>
              <a:gd name="T84" fmla="*/ 1207 w 1308"/>
              <a:gd name="T85" fmla="*/ 603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08" h="1200">
                <a:moveTo>
                  <a:pt x="1142" y="686"/>
                </a:moveTo>
                <a:cubicBezTo>
                  <a:pt x="982" y="616"/>
                  <a:pt x="982" y="616"/>
                  <a:pt x="982" y="616"/>
                </a:cubicBezTo>
                <a:cubicBezTo>
                  <a:pt x="976" y="617"/>
                  <a:pt x="971" y="617"/>
                  <a:pt x="965" y="617"/>
                </a:cubicBezTo>
                <a:cubicBezTo>
                  <a:pt x="958" y="617"/>
                  <a:pt x="958" y="617"/>
                  <a:pt x="958" y="617"/>
                </a:cubicBezTo>
                <a:cubicBezTo>
                  <a:pt x="927" y="461"/>
                  <a:pt x="791" y="343"/>
                  <a:pt x="629" y="343"/>
                </a:cubicBezTo>
                <a:cubicBezTo>
                  <a:pt x="434" y="343"/>
                  <a:pt x="434" y="343"/>
                  <a:pt x="434" y="343"/>
                </a:cubicBezTo>
                <a:cubicBezTo>
                  <a:pt x="435" y="204"/>
                  <a:pt x="545" y="91"/>
                  <a:pt x="679" y="91"/>
                </a:cubicBezTo>
                <a:cubicBezTo>
                  <a:pt x="965" y="91"/>
                  <a:pt x="965" y="91"/>
                  <a:pt x="965" y="91"/>
                </a:cubicBezTo>
                <a:cubicBezTo>
                  <a:pt x="1100" y="91"/>
                  <a:pt x="1210" y="205"/>
                  <a:pt x="1210" y="344"/>
                </a:cubicBezTo>
                <a:cubicBezTo>
                  <a:pt x="1210" y="364"/>
                  <a:pt x="1210" y="364"/>
                  <a:pt x="1210" y="364"/>
                </a:cubicBezTo>
                <a:cubicBezTo>
                  <a:pt x="1210" y="453"/>
                  <a:pt x="1165" y="531"/>
                  <a:pt x="1098" y="576"/>
                </a:cubicBezTo>
                <a:lnTo>
                  <a:pt x="1142" y="686"/>
                </a:lnTo>
                <a:close/>
                <a:moveTo>
                  <a:pt x="629" y="960"/>
                </a:moveTo>
                <a:cubicBezTo>
                  <a:pt x="343" y="960"/>
                  <a:pt x="343" y="960"/>
                  <a:pt x="343" y="960"/>
                </a:cubicBezTo>
                <a:cubicBezTo>
                  <a:pt x="337" y="960"/>
                  <a:pt x="332" y="960"/>
                  <a:pt x="326" y="959"/>
                </a:cubicBezTo>
                <a:cubicBezTo>
                  <a:pt x="166" y="1028"/>
                  <a:pt x="166" y="1028"/>
                  <a:pt x="166" y="1028"/>
                </a:cubicBezTo>
                <a:cubicBezTo>
                  <a:pt x="210" y="919"/>
                  <a:pt x="210" y="919"/>
                  <a:pt x="210" y="919"/>
                </a:cubicBezTo>
                <a:cubicBezTo>
                  <a:pt x="143" y="874"/>
                  <a:pt x="98" y="795"/>
                  <a:pt x="98" y="707"/>
                </a:cubicBezTo>
                <a:cubicBezTo>
                  <a:pt x="98" y="687"/>
                  <a:pt x="98" y="687"/>
                  <a:pt x="98" y="687"/>
                </a:cubicBezTo>
                <a:cubicBezTo>
                  <a:pt x="98" y="548"/>
                  <a:pt x="208" y="434"/>
                  <a:pt x="343" y="434"/>
                </a:cubicBezTo>
                <a:cubicBezTo>
                  <a:pt x="350" y="434"/>
                  <a:pt x="350" y="434"/>
                  <a:pt x="350" y="434"/>
                </a:cubicBezTo>
                <a:cubicBezTo>
                  <a:pt x="444" y="434"/>
                  <a:pt x="444" y="434"/>
                  <a:pt x="444" y="434"/>
                </a:cubicBezTo>
                <a:cubicBezTo>
                  <a:pt x="629" y="434"/>
                  <a:pt x="629" y="434"/>
                  <a:pt x="629" y="434"/>
                </a:cubicBezTo>
                <a:cubicBezTo>
                  <a:pt x="740" y="434"/>
                  <a:pt x="835" y="512"/>
                  <a:pt x="864" y="617"/>
                </a:cubicBezTo>
                <a:cubicBezTo>
                  <a:pt x="871" y="639"/>
                  <a:pt x="874" y="663"/>
                  <a:pt x="874" y="687"/>
                </a:cubicBezTo>
                <a:cubicBezTo>
                  <a:pt x="874" y="707"/>
                  <a:pt x="874" y="707"/>
                  <a:pt x="874" y="707"/>
                </a:cubicBezTo>
                <a:cubicBezTo>
                  <a:pt x="874" y="708"/>
                  <a:pt x="874" y="708"/>
                  <a:pt x="874" y="709"/>
                </a:cubicBezTo>
                <a:cubicBezTo>
                  <a:pt x="873" y="847"/>
                  <a:pt x="763" y="960"/>
                  <a:pt x="629" y="960"/>
                </a:cubicBezTo>
                <a:close/>
                <a:moveTo>
                  <a:pt x="1207" y="603"/>
                </a:moveTo>
                <a:cubicBezTo>
                  <a:pt x="1267" y="540"/>
                  <a:pt x="1301" y="455"/>
                  <a:pt x="1301" y="364"/>
                </a:cubicBezTo>
                <a:cubicBezTo>
                  <a:pt x="1301" y="344"/>
                  <a:pt x="1301" y="344"/>
                  <a:pt x="1301" y="344"/>
                </a:cubicBezTo>
                <a:cubicBezTo>
                  <a:pt x="1301" y="155"/>
                  <a:pt x="1151" y="0"/>
                  <a:pt x="965" y="0"/>
                </a:cubicBezTo>
                <a:cubicBezTo>
                  <a:pt x="679" y="0"/>
                  <a:pt x="679" y="0"/>
                  <a:pt x="679" y="0"/>
                </a:cubicBezTo>
                <a:cubicBezTo>
                  <a:pt x="494" y="0"/>
                  <a:pt x="343" y="155"/>
                  <a:pt x="343" y="343"/>
                </a:cubicBezTo>
                <a:cubicBezTo>
                  <a:pt x="157" y="343"/>
                  <a:pt x="7" y="498"/>
                  <a:pt x="7" y="687"/>
                </a:cubicBezTo>
                <a:cubicBezTo>
                  <a:pt x="7" y="707"/>
                  <a:pt x="7" y="707"/>
                  <a:pt x="7" y="707"/>
                </a:cubicBezTo>
                <a:cubicBezTo>
                  <a:pt x="7" y="798"/>
                  <a:pt x="41" y="882"/>
                  <a:pt x="101" y="946"/>
                </a:cubicBezTo>
                <a:cubicBezTo>
                  <a:pt x="0" y="1200"/>
                  <a:pt x="0" y="1200"/>
                  <a:pt x="0" y="1200"/>
                </a:cubicBezTo>
                <a:cubicBezTo>
                  <a:pt x="343" y="1051"/>
                  <a:pt x="343" y="1051"/>
                  <a:pt x="343" y="1051"/>
                </a:cubicBezTo>
                <a:cubicBezTo>
                  <a:pt x="629" y="1051"/>
                  <a:pt x="629" y="1051"/>
                  <a:pt x="629" y="1051"/>
                </a:cubicBezTo>
                <a:cubicBezTo>
                  <a:pt x="814" y="1051"/>
                  <a:pt x="965" y="897"/>
                  <a:pt x="965" y="709"/>
                </a:cubicBezTo>
                <a:cubicBezTo>
                  <a:pt x="1308" y="857"/>
                  <a:pt x="1308" y="857"/>
                  <a:pt x="1308" y="857"/>
                </a:cubicBezTo>
                <a:lnTo>
                  <a:pt x="1207" y="603"/>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8" name="Group 47">
            <a:extLst>
              <a:ext uri="{FF2B5EF4-FFF2-40B4-BE49-F238E27FC236}">
                <a16:creationId xmlns:a16="http://schemas.microsoft.com/office/drawing/2014/main" id="{16883735-26E6-401E-83CF-141732C44F3A}"/>
              </a:ext>
            </a:extLst>
          </p:cNvPr>
          <p:cNvGrpSpPr/>
          <p:nvPr/>
        </p:nvGrpSpPr>
        <p:grpSpPr>
          <a:xfrm>
            <a:off x="864" y="254613"/>
            <a:ext cx="1188839" cy="956985"/>
            <a:chOff x="864" y="254613"/>
            <a:chExt cx="1188839" cy="956985"/>
          </a:xfrm>
        </p:grpSpPr>
        <p:sp>
          <p:nvSpPr>
            <p:cNvPr id="44" name="Rectangle 43"/>
            <p:cNvSpPr/>
            <p:nvPr/>
          </p:nvSpPr>
          <p:spPr bwMode="auto">
            <a:xfrm>
              <a:off x="864" y="254613"/>
              <a:ext cx="1188839" cy="95698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1" name="Group 31">
              <a:extLst>
                <a:ext uri="{FF2B5EF4-FFF2-40B4-BE49-F238E27FC236}">
                  <a16:creationId xmlns:a16="http://schemas.microsoft.com/office/drawing/2014/main" id="{9A15F180-3E67-49B6-845F-90137BE1FEB8}"/>
                </a:ext>
              </a:extLst>
            </p:cNvPr>
            <p:cNvGrpSpPr>
              <a:grpSpLocks noChangeAspect="1"/>
            </p:cNvGrpSpPr>
            <p:nvPr/>
          </p:nvGrpSpPr>
          <p:grpSpPr bwMode="auto">
            <a:xfrm>
              <a:off x="306387" y="445548"/>
              <a:ext cx="595981" cy="582727"/>
              <a:chOff x="1" y="-1"/>
              <a:chExt cx="2608" cy="2550"/>
            </a:xfrm>
          </p:grpSpPr>
          <p:sp>
            <p:nvSpPr>
              <p:cNvPr id="72" name="Freeform 32">
                <a:extLst>
                  <a:ext uri="{FF2B5EF4-FFF2-40B4-BE49-F238E27FC236}">
                    <a16:creationId xmlns:a16="http://schemas.microsoft.com/office/drawing/2014/main" id="{E4E0C6CC-464B-4A26-8717-502BEE9B286B}"/>
                  </a:ext>
                </a:extLst>
              </p:cNvPr>
              <p:cNvSpPr>
                <a:spLocks noEditPoints="1"/>
              </p:cNvSpPr>
              <p:nvPr/>
            </p:nvSpPr>
            <p:spPr bwMode="auto">
              <a:xfrm>
                <a:off x="1224" y="691"/>
                <a:ext cx="1385" cy="1166"/>
              </a:xfrm>
              <a:custGeom>
                <a:avLst/>
                <a:gdLst>
                  <a:gd name="T0" fmla="*/ 347 w 1385"/>
                  <a:gd name="T1" fmla="*/ 0 h 1166"/>
                  <a:gd name="T2" fmla="*/ 0 w 1385"/>
                  <a:gd name="T3" fmla="*/ 583 h 1166"/>
                  <a:gd name="T4" fmla="*/ 347 w 1385"/>
                  <a:gd name="T5" fmla="*/ 1166 h 1166"/>
                  <a:gd name="T6" fmla="*/ 1038 w 1385"/>
                  <a:gd name="T7" fmla="*/ 1166 h 1166"/>
                  <a:gd name="T8" fmla="*/ 1385 w 1385"/>
                  <a:gd name="T9" fmla="*/ 583 h 1166"/>
                  <a:gd name="T10" fmla="*/ 1038 w 1385"/>
                  <a:gd name="T11" fmla="*/ 0 h 1166"/>
                  <a:gd name="T12" fmla="*/ 347 w 1385"/>
                  <a:gd name="T13" fmla="*/ 0 h 1166"/>
                  <a:gd name="T14" fmla="*/ 233 w 1385"/>
                  <a:gd name="T15" fmla="*/ 583 h 1166"/>
                  <a:gd name="T16" fmla="*/ 462 w 1385"/>
                  <a:gd name="T17" fmla="*/ 200 h 1166"/>
                  <a:gd name="T18" fmla="*/ 923 w 1385"/>
                  <a:gd name="T19" fmla="*/ 200 h 1166"/>
                  <a:gd name="T20" fmla="*/ 1152 w 1385"/>
                  <a:gd name="T21" fmla="*/ 583 h 1166"/>
                  <a:gd name="T22" fmla="*/ 923 w 1385"/>
                  <a:gd name="T23" fmla="*/ 966 h 1166"/>
                  <a:gd name="T24" fmla="*/ 462 w 1385"/>
                  <a:gd name="T25" fmla="*/ 966 h 1166"/>
                  <a:gd name="T26" fmla="*/ 233 w 1385"/>
                  <a:gd name="T27" fmla="*/ 583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6">
                    <a:moveTo>
                      <a:pt x="347" y="0"/>
                    </a:moveTo>
                    <a:lnTo>
                      <a:pt x="0" y="583"/>
                    </a:lnTo>
                    <a:lnTo>
                      <a:pt x="347" y="1166"/>
                    </a:lnTo>
                    <a:lnTo>
                      <a:pt x="1038" y="1166"/>
                    </a:lnTo>
                    <a:lnTo>
                      <a:pt x="1385" y="583"/>
                    </a:lnTo>
                    <a:lnTo>
                      <a:pt x="1038" y="0"/>
                    </a:lnTo>
                    <a:lnTo>
                      <a:pt x="347" y="0"/>
                    </a:lnTo>
                    <a:close/>
                    <a:moveTo>
                      <a:pt x="233" y="583"/>
                    </a:moveTo>
                    <a:lnTo>
                      <a:pt x="462" y="200"/>
                    </a:lnTo>
                    <a:lnTo>
                      <a:pt x="923" y="200"/>
                    </a:lnTo>
                    <a:lnTo>
                      <a:pt x="1152" y="583"/>
                    </a:lnTo>
                    <a:lnTo>
                      <a:pt x="923" y="966"/>
                    </a:lnTo>
                    <a:lnTo>
                      <a:pt x="462" y="966"/>
                    </a:lnTo>
                    <a:lnTo>
                      <a:pt x="233" y="5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33">
                <a:extLst>
                  <a:ext uri="{FF2B5EF4-FFF2-40B4-BE49-F238E27FC236}">
                    <a16:creationId xmlns:a16="http://schemas.microsoft.com/office/drawing/2014/main" id="{BE0B0EC9-4776-4F32-ADB6-BE6288593138}"/>
                  </a:ext>
                </a:extLst>
              </p:cNvPr>
              <p:cNvSpPr>
                <a:spLocks noEditPoints="1"/>
              </p:cNvSpPr>
              <p:nvPr/>
            </p:nvSpPr>
            <p:spPr bwMode="auto">
              <a:xfrm>
                <a:off x="1" y="-1"/>
                <a:ext cx="1385" cy="1167"/>
              </a:xfrm>
              <a:custGeom>
                <a:avLst/>
                <a:gdLst>
                  <a:gd name="T0" fmla="*/ 347 w 1385"/>
                  <a:gd name="T1" fmla="*/ 0 h 1167"/>
                  <a:gd name="T2" fmla="*/ 0 w 1385"/>
                  <a:gd name="T3" fmla="*/ 583 h 1167"/>
                  <a:gd name="T4" fmla="*/ 347 w 1385"/>
                  <a:gd name="T5" fmla="*/ 1167 h 1167"/>
                  <a:gd name="T6" fmla="*/ 1038 w 1385"/>
                  <a:gd name="T7" fmla="*/ 1167 h 1167"/>
                  <a:gd name="T8" fmla="*/ 1385 w 1385"/>
                  <a:gd name="T9" fmla="*/ 583 h 1167"/>
                  <a:gd name="T10" fmla="*/ 1038 w 1385"/>
                  <a:gd name="T11" fmla="*/ 0 h 1167"/>
                  <a:gd name="T12" fmla="*/ 347 w 1385"/>
                  <a:gd name="T13" fmla="*/ 0 h 1167"/>
                  <a:gd name="T14" fmla="*/ 233 w 1385"/>
                  <a:gd name="T15" fmla="*/ 583 h 1167"/>
                  <a:gd name="T16" fmla="*/ 462 w 1385"/>
                  <a:gd name="T17" fmla="*/ 200 h 1167"/>
                  <a:gd name="T18" fmla="*/ 923 w 1385"/>
                  <a:gd name="T19" fmla="*/ 200 h 1167"/>
                  <a:gd name="T20" fmla="*/ 1152 w 1385"/>
                  <a:gd name="T21" fmla="*/ 583 h 1167"/>
                  <a:gd name="T22" fmla="*/ 923 w 1385"/>
                  <a:gd name="T23" fmla="*/ 967 h 1167"/>
                  <a:gd name="T24" fmla="*/ 462 w 1385"/>
                  <a:gd name="T25" fmla="*/ 967 h 1167"/>
                  <a:gd name="T26" fmla="*/ 233 w 1385"/>
                  <a:gd name="T27" fmla="*/ 583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3"/>
                    </a:lnTo>
                    <a:lnTo>
                      <a:pt x="347" y="1167"/>
                    </a:lnTo>
                    <a:lnTo>
                      <a:pt x="1038" y="1167"/>
                    </a:lnTo>
                    <a:lnTo>
                      <a:pt x="1385" y="583"/>
                    </a:lnTo>
                    <a:lnTo>
                      <a:pt x="1038" y="0"/>
                    </a:lnTo>
                    <a:lnTo>
                      <a:pt x="347" y="0"/>
                    </a:lnTo>
                    <a:close/>
                    <a:moveTo>
                      <a:pt x="233" y="583"/>
                    </a:moveTo>
                    <a:lnTo>
                      <a:pt x="462" y="200"/>
                    </a:lnTo>
                    <a:lnTo>
                      <a:pt x="923" y="200"/>
                    </a:lnTo>
                    <a:lnTo>
                      <a:pt x="1152" y="583"/>
                    </a:lnTo>
                    <a:lnTo>
                      <a:pt x="923" y="967"/>
                    </a:lnTo>
                    <a:lnTo>
                      <a:pt x="462" y="967"/>
                    </a:lnTo>
                    <a:lnTo>
                      <a:pt x="233" y="5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34">
                <a:extLst>
                  <a:ext uri="{FF2B5EF4-FFF2-40B4-BE49-F238E27FC236}">
                    <a16:creationId xmlns:a16="http://schemas.microsoft.com/office/drawing/2014/main" id="{250E55BF-9B5E-4AF2-941A-4E659E0F1734}"/>
                  </a:ext>
                </a:extLst>
              </p:cNvPr>
              <p:cNvSpPr>
                <a:spLocks noEditPoints="1"/>
              </p:cNvSpPr>
              <p:nvPr/>
            </p:nvSpPr>
            <p:spPr bwMode="auto">
              <a:xfrm>
                <a:off x="1" y="1382"/>
                <a:ext cx="1385" cy="1167"/>
              </a:xfrm>
              <a:custGeom>
                <a:avLst/>
                <a:gdLst>
                  <a:gd name="T0" fmla="*/ 347 w 1385"/>
                  <a:gd name="T1" fmla="*/ 0 h 1167"/>
                  <a:gd name="T2" fmla="*/ 0 w 1385"/>
                  <a:gd name="T3" fmla="*/ 584 h 1167"/>
                  <a:gd name="T4" fmla="*/ 347 w 1385"/>
                  <a:gd name="T5" fmla="*/ 1167 h 1167"/>
                  <a:gd name="T6" fmla="*/ 1038 w 1385"/>
                  <a:gd name="T7" fmla="*/ 1167 h 1167"/>
                  <a:gd name="T8" fmla="*/ 1385 w 1385"/>
                  <a:gd name="T9" fmla="*/ 584 h 1167"/>
                  <a:gd name="T10" fmla="*/ 1038 w 1385"/>
                  <a:gd name="T11" fmla="*/ 0 h 1167"/>
                  <a:gd name="T12" fmla="*/ 347 w 1385"/>
                  <a:gd name="T13" fmla="*/ 0 h 1167"/>
                  <a:gd name="T14" fmla="*/ 233 w 1385"/>
                  <a:gd name="T15" fmla="*/ 584 h 1167"/>
                  <a:gd name="T16" fmla="*/ 462 w 1385"/>
                  <a:gd name="T17" fmla="*/ 200 h 1167"/>
                  <a:gd name="T18" fmla="*/ 923 w 1385"/>
                  <a:gd name="T19" fmla="*/ 200 h 1167"/>
                  <a:gd name="T20" fmla="*/ 1152 w 1385"/>
                  <a:gd name="T21" fmla="*/ 584 h 1167"/>
                  <a:gd name="T22" fmla="*/ 923 w 1385"/>
                  <a:gd name="T23" fmla="*/ 967 h 1167"/>
                  <a:gd name="T24" fmla="*/ 462 w 1385"/>
                  <a:gd name="T25" fmla="*/ 967 h 1167"/>
                  <a:gd name="T26" fmla="*/ 233 w 1385"/>
                  <a:gd name="T27" fmla="*/ 584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4"/>
                    </a:lnTo>
                    <a:lnTo>
                      <a:pt x="347" y="1167"/>
                    </a:lnTo>
                    <a:lnTo>
                      <a:pt x="1038" y="1167"/>
                    </a:lnTo>
                    <a:lnTo>
                      <a:pt x="1385" y="584"/>
                    </a:lnTo>
                    <a:lnTo>
                      <a:pt x="1038" y="0"/>
                    </a:lnTo>
                    <a:lnTo>
                      <a:pt x="347" y="0"/>
                    </a:lnTo>
                    <a:close/>
                    <a:moveTo>
                      <a:pt x="233" y="584"/>
                    </a:moveTo>
                    <a:lnTo>
                      <a:pt x="462" y="200"/>
                    </a:lnTo>
                    <a:lnTo>
                      <a:pt x="923" y="200"/>
                    </a:lnTo>
                    <a:lnTo>
                      <a:pt x="1152" y="584"/>
                    </a:lnTo>
                    <a:lnTo>
                      <a:pt x="923" y="967"/>
                    </a:lnTo>
                    <a:lnTo>
                      <a:pt x="462" y="967"/>
                    </a:lnTo>
                    <a:lnTo>
                      <a:pt x="233" y="5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4188893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63" presetClass="path" presetSubtype="0" decel="100000" fill="hold" nodeType="withEffect">
                                  <p:stCondLst>
                                    <p:cond delay="0"/>
                                  </p:stCondLst>
                                  <p:childTnLst>
                                    <p:animMotion origin="layout" path="M -0.02617 0 L -4.79167E-6 0 " pathEditMode="relative" rAng="0" ptsTypes="AA">
                                      <p:cBhvr>
                                        <p:cTn id="9" dur="500" fill="hold"/>
                                        <p:tgtEl>
                                          <p:spTgt spid="48"/>
                                        </p:tgtEl>
                                        <p:attrNameLst>
                                          <p:attrName>ppt_x</p:attrName>
                                          <p:attrName>ppt_y</p:attrName>
                                        </p:attrNameLst>
                                      </p:cBhvr>
                                      <p:rCtr x="1302" y="0"/>
                                    </p:animMotion>
                                  </p:childTnLst>
                                </p:cTn>
                              </p:par>
                              <p:par>
                                <p:cTn id="10" presetID="10" presetClass="entr" presetSubtype="0" fill="hold" grpId="0" nodeType="with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par>
                                <p:cTn id="13" presetID="63" presetClass="path" presetSubtype="0" decel="100000" fill="hold" grpId="1" nodeType="withEffect">
                                  <p:stCondLst>
                                    <p:cond delay="0"/>
                                  </p:stCondLst>
                                  <p:childTnLst>
                                    <p:animMotion origin="layout" path="M -0.02617 0 L -4.79167E-6 0 " pathEditMode="relative" rAng="0" ptsTypes="AA">
                                      <p:cBhvr>
                                        <p:cTn id="14" dur="500" fill="hold"/>
                                        <p:tgtEl>
                                          <p:spTgt spid="47"/>
                                        </p:tgtEl>
                                        <p:attrNameLst>
                                          <p:attrName>ppt_x</p:attrName>
                                          <p:attrName>ppt_y</p:attrName>
                                        </p:attrNameLst>
                                      </p:cBhvr>
                                      <p:rCtr x="1302" y="0"/>
                                    </p:animMotion>
                                  </p:childTnLst>
                                </p:cTn>
                              </p:par>
                              <p:par>
                                <p:cTn id="15" presetID="53" presetClass="entr" presetSubtype="16" fill="hold" grpId="0" nodeType="withEffect">
                                  <p:stCondLst>
                                    <p:cond delay="0"/>
                                  </p:stCondLst>
                                  <p:childTnLst>
                                    <p:set>
                                      <p:cBhvr>
                                        <p:cTn id="16" dur="1" fill="hold">
                                          <p:stCondLst>
                                            <p:cond delay="0"/>
                                          </p:stCondLst>
                                        </p:cTn>
                                        <p:tgtEl>
                                          <p:spTgt spid="63"/>
                                        </p:tgtEl>
                                        <p:attrNameLst>
                                          <p:attrName>style.visibility</p:attrName>
                                        </p:attrNameLst>
                                      </p:cBhvr>
                                      <p:to>
                                        <p:strVal val="visible"/>
                                      </p:to>
                                    </p:set>
                                    <p:anim calcmode="lin" valueType="num">
                                      <p:cBhvr>
                                        <p:cTn id="17" dur="500" fill="hold"/>
                                        <p:tgtEl>
                                          <p:spTgt spid="63"/>
                                        </p:tgtEl>
                                        <p:attrNameLst>
                                          <p:attrName>ppt_w</p:attrName>
                                        </p:attrNameLst>
                                      </p:cBhvr>
                                      <p:tavLst>
                                        <p:tav tm="0">
                                          <p:val>
                                            <p:fltVal val="0"/>
                                          </p:val>
                                        </p:tav>
                                        <p:tav tm="100000">
                                          <p:val>
                                            <p:strVal val="#ppt_w"/>
                                          </p:val>
                                        </p:tav>
                                      </p:tavLst>
                                    </p:anim>
                                    <p:anim calcmode="lin" valueType="num">
                                      <p:cBhvr>
                                        <p:cTn id="18" dur="500" fill="hold"/>
                                        <p:tgtEl>
                                          <p:spTgt spid="63"/>
                                        </p:tgtEl>
                                        <p:attrNameLst>
                                          <p:attrName>ppt_h</p:attrName>
                                        </p:attrNameLst>
                                      </p:cBhvr>
                                      <p:tavLst>
                                        <p:tav tm="0">
                                          <p:val>
                                            <p:fltVal val="0"/>
                                          </p:val>
                                        </p:tav>
                                        <p:tav tm="100000">
                                          <p:val>
                                            <p:strVal val="#ppt_h"/>
                                          </p:val>
                                        </p:tav>
                                      </p:tavLst>
                                    </p:anim>
                                    <p:animEffect transition="in" filter="fade">
                                      <p:cBhvr>
                                        <p:cTn id="19" dur="500"/>
                                        <p:tgtEl>
                                          <p:spTgt spid="63"/>
                                        </p:tgtEl>
                                      </p:cBhvr>
                                    </p:animEffect>
                                  </p:childTnLst>
                                </p:cTn>
                              </p:par>
                              <p:par>
                                <p:cTn id="20" presetID="53" presetClass="entr" presetSubtype="16" fill="hold" nodeType="withEffect">
                                  <p:stCondLst>
                                    <p:cond delay="0"/>
                                  </p:stCondLst>
                                  <p:childTnLst>
                                    <p:set>
                                      <p:cBhvr>
                                        <p:cTn id="21" dur="1" fill="hold">
                                          <p:stCondLst>
                                            <p:cond delay="0"/>
                                          </p:stCondLst>
                                        </p:cTn>
                                        <p:tgtEl>
                                          <p:spTgt spid="54"/>
                                        </p:tgtEl>
                                        <p:attrNameLst>
                                          <p:attrName>style.visibility</p:attrName>
                                        </p:attrNameLst>
                                      </p:cBhvr>
                                      <p:to>
                                        <p:strVal val="visible"/>
                                      </p:to>
                                    </p:set>
                                    <p:anim calcmode="lin" valueType="num">
                                      <p:cBhvr>
                                        <p:cTn id="22" dur="500" fill="hold"/>
                                        <p:tgtEl>
                                          <p:spTgt spid="54"/>
                                        </p:tgtEl>
                                        <p:attrNameLst>
                                          <p:attrName>ppt_w</p:attrName>
                                        </p:attrNameLst>
                                      </p:cBhvr>
                                      <p:tavLst>
                                        <p:tav tm="0">
                                          <p:val>
                                            <p:fltVal val="0"/>
                                          </p:val>
                                        </p:tav>
                                        <p:tav tm="100000">
                                          <p:val>
                                            <p:strVal val="#ppt_w"/>
                                          </p:val>
                                        </p:tav>
                                      </p:tavLst>
                                    </p:anim>
                                    <p:anim calcmode="lin" valueType="num">
                                      <p:cBhvr>
                                        <p:cTn id="23" dur="500" fill="hold"/>
                                        <p:tgtEl>
                                          <p:spTgt spid="54"/>
                                        </p:tgtEl>
                                        <p:attrNameLst>
                                          <p:attrName>ppt_h</p:attrName>
                                        </p:attrNameLst>
                                      </p:cBhvr>
                                      <p:tavLst>
                                        <p:tav tm="0">
                                          <p:val>
                                            <p:fltVal val="0"/>
                                          </p:val>
                                        </p:tav>
                                        <p:tav tm="100000">
                                          <p:val>
                                            <p:strVal val="#ppt_h"/>
                                          </p:val>
                                        </p:tav>
                                      </p:tavLst>
                                    </p:anim>
                                    <p:animEffect transition="in" filter="fade">
                                      <p:cBhvr>
                                        <p:cTn id="24" dur="500"/>
                                        <p:tgtEl>
                                          <p:spTgt spid="54"/>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64"/>
                                        </p:tgtEl>
                                        <p:attrNameLst>
                                          <p:attrName>style.visibility</p:attrName>
                                        </p:attrNameLst>
                                      </p:cBhvr>
                                      <p:to>
                                        <p:strVal val="visible"/>
                                      </p:to>
                                    </p:set>
                                    <p:animEffect transition="in" filter="fade">
                                      <p:cBhvr>
                                        <p:cTn id="28" dur="500"/>
                                        <p:tgtEl>
                                          <p:spTgt spid="6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500"/>
                                        <p:tgtEl>
                                          <p:spTgt spid="6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fade">
                                      <p:cBhvr>
                                        <p:cTn id="34" dur="500"/>
                                        <p:tgtEl>
                                          <p:spTgt spid="4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3"/>
                                        </p:tgtEl>
                                        <p:attrNameLst>
                                          <p:attrName>style.visibility</p:attrName>
                                        </p:attrNameLst>
                                      </p:cBhvr>
                                      <p:to>
                                        <p:strVal val="visible"/>
                                      </p:to>
                                    </p:set>
                                    <p:animEffect transition="in" filter="fade">
                                      <p:cBhvr>
                                        <p:cTn id="37"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7" grpId="1" animBg="1"/>
      <p:bldP spid="61" grpId="0"/>
      <p:bldP spid="64" grpId="0"/>
      <p:bldP spid="43" grpId="0"/>
      <p:bldP spid="45" grpId="0"/>
      <p:bldP spid="63" grpId="0" animBg="1"/>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 name="Title 2">
            <a:extLst>
              <a:ext uri="{FF2B5EF4-FFF2-40B4-BE49-F238E27FC236}">
                <a16:creationId xmlns:a16="http://schemas.microsoft.com/office/drawing/2014/main" id="{DC7283C1-457D-4319-A8BA-AA1C2141F4A1}"/>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Search</a:t>
            </a:r>
            <a:endParaRPr lang="en-US" sz="4611">
              <a:gradFill>
                <a:gsLst>
                  <a:gs pos="1250">
                    <a:srgbClr val="353535"/>
                  </a:gs>
                  <a:gs pos="100000">
                    <a:srgbClr val="353535"/>
                  </a:gs>
                </a:gsLst>
                <a:lin ang="5400000" scaled="0"/>
              </a:gradFill>
              <a:latin typeface="Segoe UI Light"/>
            </a:endParaRPr>
          </a:p>
        </p:txBody>
      </p:sp>
      <p:sp>
        <p:nvSpPr>
          <p:cNvPr id="51" name="Rectangle 50"/>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6" name="Group 45">
            <a:extLst>
              <a:ext uri="{FF2B5EF4-FFF2-40B4-BE49-F238E27FC236}">
                <a16:creationId xmlns:a16="http://schemas.microsoft.com/office/drawing/2014/main" id="{08535CDD-C02F-46A5-9E8C-068F7FAF0741}"/>
              </a:ext>
            </a:extLst>
          </p:cNvPr>
          <p:cNvGrpSpPr/>
          <p:nvPr/>
        </p:nvGrpSpPr>
        <p:grpSpPr>
          <a:xfrm>
            <a:off x="864" y="254613"/>
            <a:ext cx="1188839" cy="956984"/>
            <a:chOff x="864" y="254613"/>
            <a:chExt cx="1188839" cy="956984"/>
          </a:xfrm>
        </p:grpSpPr>
        <p:sp>
          <p:nvSpPr>
            <p:cNvPr id="53" name="Rectangle 52"/>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Freeform 34">
              <a:extLst>
                <a:ext uri="{FF2B5EF4-FFF2-40B4-BE49-F238E27FC236}">
                  <a16:creationId xmlns:a16="http://schemas.microsoft.com/office/drawing/2014/main" id="{CF4F4730-4524-4CE8-A45D-32DD40E57BE3}"/>
                </a:ext>
              </a:extLst>
            </p:cNvPr>
            <p:cNvSpPr>
              <a:spLocks noEditPoints="1"/>
            </p:cNvSpPr>
            <p:nvPr/>
          </p:nvSpPr>
          <p:spPr bwMode="auto">
            <a:xfrm>
              <a:off x="359494" y="511017"/>
              <a:ext cx="441256" cy="45366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Rectangle 1">
            <a:extLst>
              <a:ext uri="{FF2B5EF4-FFF2-40B4-BE49-F238E27FC236}">
                <a16:creationId xmlns:a16="http://schemas.microsoft.com/office/drawing/2014/main" id="{195B3A81-39B0-4D50-B6C6-366F2B0C1406}"/>
              </a:ext>
            </a:extLst>
          </p:cNvPr>
          <p:cNvSpPr/>
          <p:nvPr/>
        </p:nvSpPr>
        <p:spPr>
          <a:xfrm>
            <a:off x="434975" y="2224381"/>
            <a:ext cx="4508411" cy="3046988"/>
          </a:xfrm>
          <a:prstGeom prst="rect">
            <a:avLst/>
          </a:prstGeom>
        </p:spPr>
        <p:txBody>
          <a:bodyPr wrap="square">
            <a:spAutoFit/>
          </a:bodyPr>
          <a:lstStyle/>
          <a:p>
            <a:r>
              <a:rPr lang="en-US" sz="3200" dirty="0">
                <a:gradFill>
                  <a:gsLst>
                    <a:gs pos="2326">
                      <a:schemeClr val="tx1"/>
                    </a:gs>
                    <a:gs pos="30000">
                      <a:schemeClr val="tx1"/>
                    </a:gs>
                  </a:gsLst>
                  <a:lin ang="5400000" scaled="1"/>
                </a:gradFill>
                <a:latin typeface="+mj-lt"/>
              </a:rPr>
              <a:t>Add Bing Search APIs to your apps and harness the ability to comb billions of webpages, images, videos, and news with a single API call</a:t>
            </a:r>
          </a:p>
        </p:txBody>
      </p:sp>
      <p:pic>
        <p:nvPicPr>
          <p:cNvPr id="3" name="Picture 2">
            <a:extLst>
              <a:ext uri="{FF2B5EF4-FFF2-40B4-BE49-F238E27FC236}">
                <a16:creationId xmlns:a16="http://schemas.microsoft.com/office/drawing/2014/main" id="{1AA322C2-29A1-461E-84DD-9B9EA7055E9F}"/>
              </a:ext>
            </a:extLst>
          </p:cNvPr>
          <p:cNvPicPr>
            <a:picLocks noChangeAspect="1"/>
          </p:cNvPicPr>
          <p:nvPr/>
        </p:nvPicPr>
        <p:blipFill>
          <a:blip r:embed="rId3"/>
          <a:stretch>
            <a:fillRect/>
          </a:stretch>
        </p:blipFill>
        <p:spPr>
          <a:xfrm>
            <a:off x="5514975" y="1478212"/>
            <a:ext cx="6353176" cy="4954504"/>
          </a:xfrm>
          <a:prstGeom prst="rect">
            <a:avLst/>
          </a:prstGeom>
        </p:spPr>
      </p:pic>
      <p:grpSp>
        <p:nvGrpSpPr>
          <p:cNvPr id="9" name="Group 8">
            <a:extLst>
              <a:ext uri="{FF2B5EF4-FFF2-40B4-BE49-F238E27FC236}">
                <a16:creationId xmlns:a16="http://schemas.microsoft.com/office/drawing/2014/main" id="{010961AB-DCEB-4801-9C19-FEDD88DE0A0E}"/>
              </a:ext>
            </a:extLst>
          </p:cNvPr>
          <p:cNvGrpSpPr/>
          <p:nvPr/>
        </p:nvGrpSpPr>
        <p:grpSpPr>
          <a:xfrm>
            <a:off x="6152872" y="1689523"/>
            <a:ext cx="5067578" cy="4520374"/>
            <a:chOff x="5978033" y="1474088"/>
            <a:chExt cx="5550606" cy="4951244"/>
          </a:xfrm>
        </p:grpSpPr>
        <p:grpSp>
          <p:nvGrpSpPr>
            <p:cNvPr id="7" name="Group 6">
              <a:extLst>
                <a:ext uri="{FF2B5EF4-FFF2-40B4-BE49-F238E27FC236}">
                  <a16:creationId xmlns:a16="http://schemas.microsoft.com/office/drawing/2014/main" id="{20992638-CE8B-4FCD-93FE-C5F6F887E521}"/>
                </a:ext>
              </a:extLst>
            </p:cNvPr>
            <p:cNvGrpSpPr/>
            <p:nvPr/>
          </p:nvGrpSpPr>
          <p:grpSpPr>
            <a:xfrm>
              <a:off x="5978034" y="1474088"/>
              <a:ext cx="741333" cy="750293"/>
              <a:chOff x="-4495802" y="0"/>
              <a:chExt cx="1575949" cy="1594996"/>
            </a:xfrm>
            <a:solidFill>
              <a:srgbClr val="C00000"/>
            </a:solidFill>
          </p:grpSpPr>
          <p:sp>
            <p:nvSpPr>
              <p:cNvPr id="6" name="Rectangle 5">
                <a:extLst>
                  <a:ext uri="{FF2B5EF4-FFF2-40B4-BE49-F238E27FC236}">
                    <a16:creationId xmlns:a16="http://schemas.microsoft.com/office/drawing/2014/main" id="{3D84258D-939D-4915-825E-5FF22ECD6AB7}"/>
                  </a:ext>
                </a:extLst>
              </p:cNvPr>
              <p:cNvSpPr/>
              <p:nvPr/>
            </p:nvSpPr>
            <p:spPr bwMode="auto">
              <a:xfrm>
                <a:off x="-4495800" y="0"/>
                <a:ext cx="1575947" cy="3429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D5744699-8AB7-4CF1-997E-A1CD49849723}"/>
                  </a:ext>
                </a:extLst>
              </p:cNvPr>
              <p:cNvSpPr/>
              <p:nvPr/>
            </p:nvSpPr>
            <p:spPr bwMode="auto">
              <a:xfrm rot="5400000">
                <a:off x="-5112326" y="635573"/>
                <a:ext cx="1575947" cy="3429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B08AFD34-EA01-473E-8576-5D041587B804}"/>
                </a:ext>
              </a:extLst>
            </p:cNvPr>
            <p:cNvGrpSpPr/>
            <p:nvPr/>
          </p:nvGrpSpPr>
          <p:grpSpPr>
            <a:xfrm rot="5400000">
              <a:off x="10782826" y="1479768"/>
              <a:ext cx="741333" cy="750293"/>
              <a:chOff x="-4495802" y="0"/>
              <a:chExt cx="1575949" cy="1594996"/>
            </a:xfrm>
            <a:solidFill>
              <a:srgbClr val="C00000"/>
            </a:solidFill>
          </p:grpSpPr>
          <p:sp>
            <p:nvSpPr>
              <p:cNvPr id="16" name="Rectangle 15">
                <a:extLst>
                  <a:ext uri="{FF2B5EF4-FFF2-40B4-BE49-F238E27FC236}">
                    <a16:creationId xmlns:a16="http://schemas.microsoft.com/office/drawing/2014/main" id="{46FBE7AC-1A12-49BD-AA59-6B4776286130}"/>
                  </a:ext>
                </a:extLst>
              </p:cNvPr>
              <p:cNvSpPr/>
              <p:nvPr/>
            </p:nvSpPr>
            <p:spPr bwMode="auto">
              <a:xfrm>
                <a:off x="-4495800" y="0"/>
                <a:ext cx="1575947" cy="3429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1441F9BE-48F9-4ED4-8C66-FA32929F403D}"/>
                  </a:ext>
                </a:extLst>
              </p:cNvPr>
              <p:cNvSpPr/>
              <p:nvPr/>
            </p:nvSpPr>
            <p:spPr bwMode="auto">
              <a:xfrm rot="5400000">
                <a:off x="-5112326" y="635573"/>
                <a:ext cx="1575947" cy="3429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0A13AA73-6408-4CF7-BF0F-B6264EA3B544}"/>
                </a:ext>
              </a:extLst>
            </p:cNvPr>
            <p:cNvGrpSpPr/>
            <p:nvPr/>
          </p:nvGrpSpPr>
          <p:grpSpPr>
            <a:xfrm rot="10800000">
              <a:off x="10782826" y="5675039"/>
              <a:ext cx="741333" cy="750293"/>
              <a:chOff x="-4495802" y="0"/>
              <a:chExt cx="1575949" cy="1594996"/>
            </a:xfrm>
            <a:solidFill>
              <a:srgbClr val="C00000"/>
            </a:solidFill>
          </p:grpSpPr>
          <p:sp>
            <p:nvSpPr>
              <p:cNvPr id="19" name="Rectangle 18">
                <a:extLst>
                  <a:ext uri="{FF2B5EF4-FFF2-40B4-BE49-F238E27FC236}">
                    <a16:creationId xmlns:a16="http://schemas.microsoft.com/office/drawing/2014/main" id="{CCCAF353-FB0D-4F5B-AC2F-D36A75F48C64}"/>
                  </a:ext>
                </a:extLst>
              </p:cNvPr>
              <p:cNvSpPr/>
              <p:nvPr/>
            </p:nvSpPr>
            <p:spPr bwMode="auto">
              <a:xfrm>
                <a:off x="-4495800" y="0"/>
                <a:ext cx="1575947" cy="3429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A8618C22-DE0A-476B-B7A3-7891F892A021}"/>
                  </a:ext>
                </a:extLst>
              </p:cNvPr>
              <p:cNvSpPr/>
              <p:nvPr/>
            </p:nvSpPr>
            <p:spPr bwMode="auto">
              <a:xfrm rot="5400000">
                <a:off x="-5112326" y="635573"/>
                <a:ext cx="1575947" cy="3429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B34D9A09-48EA-4B70-8A57-0068990807C9}"/>
                </a:ext>
              </a:extLst>
            </p:cNvPr>
            <p:cNvGrpSpPr/>
            <p:nvPr/>
          </p:nvGrpSpPr>
          <p:grpSpPr>
            <a:xfrm rot="16200000">
              <a:off x="5982513" y="5675039"/>
              <a:ext cx="741333" cy="750293"/>
              <a:chOff x="-4495802" y="0"/>
              <a:chExt cx="1575949" cy="1594996"/>
            </a:xfrm>
            <a:solidFill>
              <a:srgbClr val="C00000"/>
            </a:solidFill>
          </p:grpSpPr>
          <p:sp>
            <p:nvSpPr>
              <p:cNvPr id="22" name="Rectangle 21">
                <a:extLst>
                  <a:ext uri="{FF2B5EF4-FFF2-40B4-BE49-F238E27FC236}">
                    <a16:creationId xmlns:a16="http://schemas.microsoft.com/office/drawing/2014/main" id="{FF0C599C-DD5D-4556-A71E-539075C2EF2B}"/>
                  </a:ext>
                </a:extLst>
              </p:cNvPr>
              <p:cNvSpPr/>
              <p:nvPr/>
            </p:nvSpPr>
            <p:spPr bwMode="auto">
              <a:xfrm>
                <a:off x="-4495800" y="0"/>
                <a:ext cx="1575947" cy="3429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0BA399DB-EAF8-480E-96F1-C00B72EFDFE2}"/>
                  </a:ext>
                </a:extLst>
              </p:cNvPr>
              <p:cNvSpPr/>
              <p:nvPr/>
            </p:nvSpPr>
            <p:spPr bwMode="auto">
              <a:xfrm rot="5400000">
                <a:off x="-5112326" y="635573"/>
                <a:ext cx="1575947" cy="3429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pic>
        <p:nvPicPr>
          <p:cNvPr id="4" name="Picture 3">
            <a:extLst>
              <a:ext uri="{FF2B5EF4-FFF2-40B4-BE49-F238E27FC236}">
                <a16:creationId xmlns:a16="http://schemas.microsoft.com/office/drawing/2014/main" id="{C876B74E-F9F7-4319-901B-059B1D24685C}"/>
              </a:ext>
            </a:extLst>
          </p:cNvPr>
          <p:cNvPicPr>
            <a:picLocks noChangeAspect="1"/>
          </p:cNvPicPr>
          <p:nvPr/>
        </p:nvPicPr>
        <p:blipFill>
          <a:blip r:embed="rId4"/>
          <a:stretch>
            <a:fillRect/>
          </a:stretch>
        </p:blipFill>
        <p:spPr>
          <a:xfrm>
            <a:off x="5514975" y="1573462"/>
            <a:ext cx="6267450" cy="4688305"/>
          </a:xfrm>
          <a:prstGeom prst="rect">
            <a:avLst/>
          </a:prstGeom>
        </p:spPr>
      </p:pic>
    </p:spTree>
    <p:extLst>
      <p:ext uri="{BB962C8B-B14F-4D97-AF65-F5344CB8AC3E}">
        <p14:creationId xmlns:p14="http://schemas.microsoft.com/office/powerpoint/2010/main" val="581150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63" presetClass="path" presetSubtype="0" decel="100000" fill="hold" nodeType="withEffect">
                                  <p:stCondLst>
                                    <p:cond delay="0"/>
                                  </p:stCondLst>
                                  <p:childTnLst>
                                    <p:animMotion origin="layout" path="M -0.02617 2.22222E-6 L -2.91667E-6 2.22222E-6 " pathEditMode="relative" rAng="0" ptsTypes="AA">
                                      <p:cBhvr>
                                        <p:cTn id="9" dur="500" fill="hold"/>
                                        <p:tgtEl>
                                          <p:spTgt spid="46"/>
                                        </p:tgtEl>
                                        <p:attrNameLst>
                                          <p:attrName>ppt_x</p:attrName>
                                          <p:attrName>ppt_y</p:attrName>
                                        </p:attrNameLst>
                                      </p:cBhvr>
                                      <p:rCtr x="1302" y="0"/>
                                    </p:animMotion>
                                  </p:childTnLst>
                                </p:cTn>
                              </p:par>
                              <p:par>
                                <p:cTn id="10" presetID="10" presetClass="entr" presetSubtype="0" fill="hold" grpId="0" nodeType="with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fade">
                                      <p:cBhvr>
                                        <p:cTn id="12" dur="500"/>
                                        <p:tgtEl>
                                          <p:spTgt spid="48"/>
                                        </p:tgtEl>
                                      </p:cBhvr>
                                    </p:animEffect>
                                  </p:childTnLst>
                                </p:cTn>
                              </p:par>
                              <p:par>
                                <p:cTn id="13" presetID="63" presetClass="path" presetSubtype="0" decel="100000" fill="hold" grpId="1" nodeType="withEffect">
                                  <p:stCondLst>
                                    <p:cond delay="0"/>
                                  </p:stCondLst>
                                  <p:childTnLst>
                                    <p:animMotion origin="layout" path="M -0.02617 2.22222E-6 L -2.91667E-6 2.22222E-6 " pathEditMode="relative" rAng="0" ptsTypes="AA">
                                      <p:cBhvr>
                                        <p:cTn id="14" dur="500" fill="hold"/>
                                        <p:tgtEl>
                                          <p:spTgt spid="48"/>
                                        </p:tgtEl>
                                        <p:attrNameLst>
                                          <p:attrName>ppt_x</p:attrName>
                                          <p:attrName>ppt_y</p:attrName>
                                        </p:attrNameLst>
                                      </p:cBhvr>
                                      <p:rCtr x="1302" y="0"/>
                                    </p:animMotion>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par>
                                <p:cTn id="19" presetID="63" presetClass="path" presetSubtype="0" decel="100000" fill="hold" grpId="1" nodeType="withEffect">
                                  <p:stCondLst>
                                    <p:cond delay="0"/>
                                  </p:stCondLst>
                                  <p:childTnLst>
                                    <p:animMotion origin="layout" path="M -0.02617 2.22222E-6 L -2.91667E-6 2.22222E-6 " pathEditMode="relative" rAng="0" ptsTypes="AA">
                                      <p:cBhvr>
                                        <p:cTn id="20" dur="500" fill="hold"/>
                                        <p:tgtEl>
                                          <p:spTgt spid="2"/>
                                        </p:tgtEl>
                                        <p:attrNameLst>
                                          <p:attrName>ppt_x</p:attrName>
                                          <p:attrName>ppt_y</p:attrName>
                                        </p:attrNameLst>
                                      </p:cBhvr>
                                      <p:rCtr x="1302" y="0"/>
                                    </p:animMotion>
                                  </p:childTnLst>
                                </p:cTn>
                              </p:par>
                              <p:par>
                                <p:cTn id="21" presetID="10" presetClass="entr" presetSubtype="0"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63" presetClass="path" presetSubtype="0" decel="100000" fill="hold" nodeType="withEffect">
                                  <p:stCondLst>
                                    <p:cond delay="0"/>
                                  </p:stCondLst>
                                  <p:childTnLst>
                                    <p:animMotion origin="layout" path="M -0.02617 -3.7037E-7 L -6.25E-7 -3.7037E-7 " pathEditMode="relative" rAng="0" ptsTypes="AA">
                                      <p:cBhvr>
                                        <p:cTn id="25" dur="500" fill="hold"/>
                                        <p:tgtEl>
                                          <p:spTgt spid="3"/>
                                        </p:tgtEl>
                                        <p:attrNameLst>
                                          <p:attrName>ppt_x</p:attrName>
                                          <p:attrName>ppt_y</p:attrName>
                                        </p:attrNameLst>
                                      </p:cBhvr>
                                      <p:rCtr x="1302" y="0"/>
                                    </p:animMotion>
                                  </p:childTnLst>
                                </p:cTn>
                              </p:par>
                            </p:childTnLst>
                          </p:cTn>
                        </p:par>
                        <p:par>
                          <p:cTn id="26" fill="hold">
                            <p:stCondLst>
                              <p:cond delay="1000"/>
                            </p:stCondLst>
                            <p:childTnLst>
                              <p:par>
                                <p:cTn id="27" presetID="10" presetClass="entr" presetSubtype="0" fill="hold" nodeType="afterEffect">
                                  <p:stCondLst>
                                    <p:cond delay="200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childTnLst>
                          </p:cTn>
                        </p:par>
                        <p:par>
                          <p:cTn id="30" fill="hold">
                            <p:stCondLst>
                              <p:cond delay="3500"/>
                            </p:stCondLst>
                            <p:childTnLst>
                              <p:par>
                                <p:cTn id="31" presetID="10" presetClass="entr" presetSubtype="0" fill="hold" nodeType="afterEffect">
                                  <p:stCondLst>
                                    <p:cond delay="200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6000"/>
                            </p:stCondLst>
                            <p:childTnLst>
                              <p:par>
                                <p:cTn id="35" presetID="10" presetClass="exit" presetSubtype="0" fill="hold" nodeType="afterEffect">
                                  <p:stCondLst>
                                    <p:cond delay="0"/>
                                  </p:stCondLst>
                                  <p:childTnLst>
                                    <p:animEffect transition="out" filter="fade">
                                      <p:cBhvr>
                                        <p:cTn id="36" dur="500"/>
                                        <p:tgtEl>
                                          <p:spTgt spid="9"/>
                                        </p:tgtEl>
                                      </p:cBhvr>
                                    </p:animEffect>
                                    <p:set>
                                      <p:cBhvr>
                                        <p:cTn id="37" dur="1" fill="hold">
                                          <p:stCondLst>
                                            <p:cond delay="499"/>
                                          </p:stCondLst>
                                        </p:cTn>
                                        <p:tgtEl>
                                          <p:spTgt spid="9"/>
                                        </p:tgtEl>
                                        <p:attrNameLst>
                                          <p:attrName>style.visibility</p:attrName>
                                        </p:attrNameLst>
                                      </p:cBhvr>
                                      <p:to>
                                        <p:strVal val="hidden"/>
                                      </p:to>
                                    </p:set>
                                  </p:childTnLst>
                                </p:cTn>
                              </p:par>
                              <p:par>
                                <p:cTn id="38" presetID="10" presetClass="exit" presetSubtype="0" fill="hold" nodeType="withEffect">
                                  <p:stCondLst>
                                    <p:cond delay="0"/>
                                  </p:stCondLst>
                                  <p:childTnLst>
                                    <p:animEffect transition="out" filter="fade">
                                      <p:cBhvr>
                                        <p:cTn id="39" dur="500"/>
                                        <p:tgtEl>
                                          <p:spTgt spid="3"/>
                                        </p:tgtEl>
                                      </p:cBhvr>
                                    </p:animEffect>
                                    <p:set>
                                      <p:cBhvr>
                                        <p:cTn id="40"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8" grpId="1" animBg="1"/>
      <p:bldP spid="2" grpId="0"/>
      <p:bldP spid="2" grpId="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 name="Title 2">
            <a:extLst>
              <a:ext uri="{FF2B5EF4-FFF2-40B4-BE49-F238E27FC236}">
                <a16:creationId xmlns:a16="http://schemas.microsoft.com/office/drawing/2014/main" id="{DC7283C1-457D-4319-A8BA-AA1C2141F4A1}"/>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Search</a:t>
            </a:r>
            <a:endParaRPr lang="en-US" sz="4611">
              <a:gradFill>
                <a:gsLst>
                  <a:gs pos="1250">
                    <a:srgbClr val="353535"/>
                  </a:gs>
                  <a:gs pos="100000">
                    <a:srgbClr val="353535"/>
                  </a:gs>
                </a:gsLst>
                <a:lin ang="5400000" scaled="0"/>
              </a:gradFill>
              <a:latin typeface="Segoe UI Light"/>
            </a:endParaRPr>
          </a:p>
        </p:txBody>
      </p:sp>
      <p:sp>
        <p:nvSpPr>
          <p:cNvPr id="51" name="Rectangle 50"/>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TextBox 61"/>
          <p:cNvSpPr txBox="1"/>
          <p:nvPr/>
        </p:nvSpPr>
        <p:spPr>
          <a:xfrm>
            <a:off x="3115837" y="4603558"/>
            <a:ext cx="2687721" cy="398058"/>
          </a:xfrm>
          <a:prstGeom prst="rect">
            <a:avLst/>
          </a:prstGeom>
          <a:noFill/>
        </p:spPr>
        <p:txBody>
          <a:bodyPr wrap="square" lIns="175736" tIns="89630" rIns="175736" bIns="89630" rtlCol="0" anchor="ctr">
            <a:spAutoFit/>
          </a:bodyPr>
          <a:lstStyle>
            <a:defPPr>
              <a:defRPr lang="en-US"/>
            </a:defPPr>
            <a:lvl1pPr algn="ctr" defTabSz="914139">
              <a:lnSpc>
                <a:spcPct val="90000"/>
              </a:lnSpc>
              <a:spcAft>
                <a:spcPts val="575"/>
              </a:spcAft>
              <a:defRPr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r>
              <a:rPr lang="en-US" dirty="0">
                <a:gradFill>
                  <a:gsLst>
                    <a:gs pos="2326">
                      <a:schemeClr val="tx1"/>
                    </a:gs>
                    <a:gs pos="30000">
                      <a:schemeClr val="tx1"/>
                    </a:gs>
                  </a:gsLst>
                  <a:lin ang="5400000" scaled="1"/>
                </a:gradFill>
              </a:rPr>
              <a:t>Bing Autosuggest</a:t>
            </a:r>
          </a:p>
        </p:txBody>
      </p:sp>
      <p:sp>
        <p:nvSpPr>
          <p:cNvPr id="63" name="Rectangle 62"/>
          <p:cNvSpPr/>
          <p:nvPr/>
        </p:nvSpPr>
        <p:spPr>
          <a:xfrm>
            <a:off x="2989627" y="5005585"/>
            <a:ext cx="2940141" cy="479807"/>
          </a:xfrm>
          <a:prstGeom prst="rect">
            <a:avLst/>
          </a:prstGeom>
        </p:spPr>
        <p:txBody>
          <a:bodyPr wrap="square">
            <a:spAutoFit/>
          </a:bodyPr>
          <a:lstStyle/>
          <a:p>
            <a:pPr algn="ctr" defTabSz="914139">
              <a:lnSpc>
                <a:spcPct val="90000"/>
              </a:lnSpc>
              <a:spcAft>
                <a:spcPts val="575"/>
              </a:spcAft>
              <a:defRPr/>
            </a:pPr>
            <a:r>
              <a:rPr lang="en-US" sz="1400" dirty="0">
                <a:gradFill>
                  <a:gsLst>
                    <a:gs pos="2326">
                      <a:schemeClr val="tx1"/>
                    </a:gs>
                    <a:gs pos="30000">
                      <a:schemeClr val="tx1"/>
                    </a:gs>
                  </a:gsLst>
                  <a:lin ang="5400000" scaled="1"/>
                </a:gradFill>
                <a:latin typeface="Segoe UI" panose="020B0502040204020203" pitchFamily="34" charset="0"/>
                <a:cs typeface="Segoe UI" panose="020B0502040204020203" pitchFamily="34" charset="0"/>
              </a:rPr>
              <a:t>Give your app intelligent autosuggest options for searches</a:t>
            </a:r>
          </a:p>
        </p:txBody>
      </p:sp>
      <p:sp>
        <p:nvSpPr>
          <p:cNvPr id="64" name="TextBox 63"/>
          <p:cNvSpPr txBox="1"/>
          <p:nvPr/>
        </p:nvSpPr>
        <p:spPr>
          <a:xfrm>
            <a:off x="1483759" y="2567455"/>
            <a:ext cx="267940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dirty="0">
                <a:gradFill>
                  <a:gsLst>
                    <a:gs pos="2326">
                      <a:schemeClr val="tx1"/>
                    </a:gs>
                    <a:gs pos="30000">
                      <a:schemeClr val="tx1"/>
                    </a:gs>
                  </a:gsLst>
                  <a:lin ang="5400000" scaled="1"/>
                </a:gradFill>
                <a:latin typeface="Segoe UI" panose="020B0502040204020203" pitchFamily="34" charset="0"/>
                <a:cs typeface="Segoe UI" panose="020B0502040204020203" pitchFamily="34" charset="0"/>
              </a:rPr>
              <a:t>Bing Search</a:t>
            </a:r>
          </a:p>
        </p:txBody>
      </p:sp>
      <p:sp>
        <p:nvSpPr>
          <p:cNvPr id="65" name="Rectangle 64"/>
          <p:cNvSpPr/>
          <p:nvPr/>
        </p:nvSpPr>
        <p:spPr>
          <a:xfrm>
            <a:off x="1479013" y="2970255"/>
            <a:ext cx="2688892" cy="867930"/>
          </a:xfrm>
          <a:prstGeom prst="rect">
            <a:avLst/>
          </a:prstGeom>
        </p:spPr>
        <p:txBody>
          <a:bodyPr wrap="square">
            <a:spAutoFit/>
          </a:bodyPr>
          <a:lstStyle/>
          <a:p>
            <a:pPr algn="ctr" defTabSz="914139">
              <a:lnSpc>
                <a:spcPct val="90000"/>
              </a:lnSpc>
              <a:defRPr/>
            </a:pPr>
            <a:r>
              <a:rPr lang="en-US" sz="1400" dirty="0">
                <a:gradFill>
                  <a:gsLst>
                    <a:gs pos="2326">
                      <a:schemeClr val="tx1"/>
                    </a:gs>
                    <a:gs pos="30000">
                      <a:schemeClr val="tx1"/>
                    </a:gs>
                  </a:gsLst>
                  <a:lin ang="5400000" scaled="1"/>
                </a:gradFill>
                <a:latin typeface="Segoe UI" panose="020B0502040204020203" pitchFamily="34" charset="0"/>
                <a:cs typeface="Segoe UI" panose="020B0502040204020203" pitchFamily="34" charset="0"/>
              </a:rPr>
              <a:t>Web Search</a:t>
            </a:r>
          </a:p>
          <a:p>
            <a:pPr algn="ctr" defTabSz="914139">
              <a:lnSpc>
                <a:spcPct val="90000"/>
              </a:lnSpc>
              <a:defRPr/>
            </a:pPr>
            <a:r>
              <a:rPr lang="en-US" sz="1400" dirty="0">
                <a:gradFill>
                  <a:gsLst>
                    <a:gs pos="2326">
                      <a:schemeClr val="tx1"/>
                    </a:gs>
                    <a:gs pos="30000">
                      <a:schemeClr val="tx1"/>
                    </a:gs>
                  </a:gsLst>
                  <a:lin ang="5400000" scaled="1"/>
                </a:gradFill>
                <a:latin typeface="Segoe UI" panose="020B0502040204020203" pitchFamily="34" charset="0"/>
                <a:cs typeface="Segoe UI" panose="020B0502040204020203" pitchFamily="34" charset="0"/>
              </a:rPr>
              <a:t>Image Search</a:t>
            </a:r>
          </a:p>
          <a:p>
            <a:pPr algn="ctr" defTabSz="914139">
              <a:lnSpc>
                <a:spcPct val="90000"/>
              </a:lnSpc>
              <a:defRPr/>
            </a:pPr>
            <a:r>
              <a:rPr lang="en-US" sz="1400" dirty="0">
                <a:gradFill>
                  <a:gsLst>
                    <a:gs pos="2326">
                      <a:schemeClr val="tx1"/>
                    </a:gs>
                    <a:gs pos="30000">
                      <a:schemeClr val="tx1"/>
                    </a:gs>
                  </a:gsLst>
                  <a:lin ang="5400000" scaled="1"/>
                </a:gradFill>
                <a:latin typeface="Segoe UI" panose="020B0502040204020203" pitchFamily="34" charset="0"/>
                <a:cs typeface="Segoe UI" panose="020B0502040204020203" pitchFamily="34" charset="0"/>
              </a:rPr>
              <a:t>News Search</a:t>
            </a:r>
          </a:p>
          <a:p>
            <a:pPr algn="ctr" defTabSz="914139">
              <a:lnSpc>
                <a:spcPct val="90000"/>
              </a:lnSpc>
              <a:defRPr/>
            </a:pPr>
            <a:r>
              <a:rPr lang="en-US" sz="1400" dirty="0">
                <a:gradFill>
                  <a:gsLst>
                    <a:gs pos="2326">
                      <a:schemeClr val="tx1"/>
                    </a:gs>
                    <a:gs pos="30000">
                      <a:schemeClr val="tx1"/>
                    </a:gs>
                  </a:gsLst>
                  <a:lin ang="5400000" scaled="1"/>
                </a:gradFill>
                <a:latin typeface="Segoe UI" panose="020B0502040204020203" pitchFamily="34" charset="0"/>
                <a:cs typeface="Segoe UI" panose="020B0502040204020203" pitchFamily="34" charset="0"/>
              </a:rPr>
              <a:t>Video Search</a:t>
            </a:r>
          </a:p>
        </p:txBody>
      </p:sp>
      <p:sp>
        <p:nvSpPr>
          <p:cNvPr id="72" name="Rectangle 71"/>
          <p:cNvSpPr/>
          <p:nvPr/>
        </p:nvSpPr>
        <p:spPr>
          <a:xfrm>
            <a:off x="6379638" y="5012464"/>
            <a:ext cx="2688892" cy="479807"/>
          </a:xfrm>
          <a:prstGeom prst="rect">
            <a:avLst/>
          </a:prstGeom>
        </p:spPr>
        <p:txBody>
          <a:bodyPr wrap="square">
            <a:spAutoFit/>
          </a:bodyPr>
          <a:lstStyle/>
          <a:p>
            <a:pPr algn="ctr" defTabSz="914139">
              <a:lnSpc>
                <a:spcPct val="90000"/>
              </a:lnSpc>
              <a:spcAft>
                <a:spcPts val="575"/>
              </a:spcAft>
              <a:defRPr/>
            </a:pPr>
            <a:r>
              <a:rPr lang="en-US" sz="1400" dirty="0">
                <a:gradFill>
                  <a:gsLst>
                    <a:gs pos="2326">
                      <a:schemeClr val="tx1"/>
                    </a:gs>
                    <a:gs pos="30000">
                      <a:schemeClr val="tx1"/>
                    </a:gs>
                  </a:gsLst>
                  <a:lin ang="5400000" scaled="1"/>
                </a:gradFill>
                <a:latin typeface="Segoe UI" panose="020B0502040204020203" pitchFamily="34" charset="0"/>
                <a:cs typeface="Segoe UI" panose="020B0502040204020203" pitchFamily="34" charset="0"/>
              </a:rPr>
              <a:t>Create a highly-customized </a:t>
            </a:r>
            <a:br>
              <a:rPr lang="en-US" sz="1400" dirty="0">
                <a:gradFill>
                  <a:gsLst>
                    <a:gs pos="2326">
                      <a:schemeClr val="tx1"/>
                    </a:gs>
                    <a:gs pos="30000">
                      <a:schemeClr val="tx1"/>
                    </a:gs>
                  </a:gsLst>
                  <a:lin ang="5400000" scaled="1"/>
                </a:gradFill>
                <a:latin typeface="Segoe UI" panose="020B0502040204020203" pitchFamily="34" charset="0"/>
                <a:cs typeface="Segoe UI" panose="020B0502040204020203" pitchFamily="34" charset="0"/>
              </a:rPr>
            </a:br>
            <a:r>
              <a:rPr lang="en-US" sz="1400" dirty="0">
                <a:gradFill>
                  <a:gsLst>
                    <a:gs pos="2326">
                      <a:schemeClr val="tx1"/>
                    </a:gs>
                    <a:gs pos="30000">
                      <a:schemeClr val="tx1"/>
                    </a:gs>
                  </a:gsLst>
                  <a:lin ang="5400000" scaled="1"/>
                </a:gradFill>
                <a:latin typeface="Segoe UI" panose="020B0502040204020203" pitchFamily="34" charset="0"/>
                <a:cs typeface="Segoe UI" panose="020B0502040204020203" pitchFamily="34" charset="0"/>
              </a:rPr>
              <a:t>web search experience</a:t>
            </a:r>
          </a:p>
        </p:txBody>
      </p:sp>
      <p:sp>
        <p:nvSpPr>
          <p:cNvPr id="73" name="TextBox 72"/>
          <p:cNvSpPr txBox="1"/>
          <p:nvPr/>
        </p:nvSpPr>
        <p:spPr>
          <a:xfrm>
            <a:off x="4686786" y="5745986"/>
            <a:ext cx="2411776" cy="50097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endParaRPr lang="en-US" sz="155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endParaRPr>
          </a:p>
        </p:txBody>
      </p:sp>
      <p:sp>
        <p:nvSpPr>
          <p:cNvPr id="43" name="Rectangle 42"/>
          <p:cNvSpPr/>
          <p:nvPr/>
        </p:nvSpPr>
        <p:spPr>
          <a:xfrm>
            <a:off x="8019349" y="2970255"/>
            <a:ext cx="2688892" cy="480131"/>
          </a:xfrm>
          <a:prstGeom prst="rect">
            <a:avLst/>
          </a:prstGeom>
        </p:spPr>
        <p:txBody>
          <a:bodyPr wrap="square">
            <a:spAutoFit/>
          </a:bodyPr>
          <a:lstStyle/>
          <a:p>
            <a:pPr algn="ctr" defTabSz="914139">
              <a:lnSpc>
                <a:spcPct val="90000"/>
              </a:lnSpc>
              <a:spcAft>
                <a:spcPts val="575"/>
              </a:spcAft>
              <a:defRPr/>
            </a:pPr>
            <a:r>
              <a:rPr lang="en-US" sz="1400" dirty="0">
                <a:gradFill>
                  <a:gsLst>
                    <a:gs pos="2326">
                      <a:schemeClr val="tx1"/>
                    </a:gs>
                    <a:gs pos="30000">
                      <a:schemeClr val="tx1"/>
                    </a:gs>
                  </a:gsLst>
                  <a:lin ang="5400000" scaled="1"/>
                </a:gradFill>
                <a:latin typeface="Segoe UI"/>
              </a:rPr>
              <a:t>Enrich user experiences with contextual entity search results</a:t>
            </a:r>
            <a:endParaRPr lang="en-US" sz="1400" dirty="0">
              <a:gradFill>
                <a:gsLst>
                  <a:gs pos="2326">
                    <a:schemeClr val="tx1"/>
                  </a:gs>
                  <a:gs pos="30000">
                    <a:schemeClr val="tx1"/>
                  </a:gs>
                </a:gsLst>
                <a:lin ang="5400000" scaled="1"/>
              </a:gradFill>
              <a:latin typeface="Segoe UI" panose="020B0502040204020203" pitchFamily="34" charset="0"/>
              <a:cs typeface="Segoe UI" panose="020B0502040204020203" pitchFamily="34" charset="0"/>
            </a:endParaRPr>
          </a:p>
        </p:txBody>
      </p:sp>
      <p:sp>
        <p:nvSpPr>
          <p:cNvPr id="44" name="TextBox 43"/>
          <p:cNvSpPr txBox="1"/>
          <p:nvPr/>
        </p:nvSpPr>
        <p:spPr>
          <a:xfrm>
            <a:off x="8157907" y="2546990"/>
            <a:ext cx="2411776" cy="501135"/>
          </a:xfrm>
          <a:prstGeom prst="rect">
            <a:avLst/>
          </a:prstGeom>
          <a:noFill/>
        </p:spPr>
        <p:txBody>
          <a:bodyPr wrap="square" lIns="175736" tIns="89630" rIns="175736" bIns="89630" rtlCol="0" anchor="ctr">
            <a:spAutoFit/>
          </a:bodyPr>
          <a:lstStyle>
            <a:defPPr>
              <a:defRPr lang="en-US"/>
            </a:defPPr>
            <a:lvl1pPr algn="ctr" defTabSz="914139">
              <a:lnSpc>
                <a:spcPct val="90000"/>
              </a:lnSpc>
              <a:spcAft>
                <a:spcPts val="575"/>
              </a:spcAft>
              <a:defRPr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r>
              <a:rPr lang="en-US" dirty="0">
                <a:gradFill>
                  <a:gsLst>
                    <a:gs pos="2326">
                      <a:schemeClr val="tx1"/>
                    </a:gs>
                    <a:gs pos="30000">
                      <a:schemeClr val="tx1"/>
                    </a:gs>
                  </a:gsLst>
                  <a:lin ang="5400000" scaled="1"/>
                </a:gradFill>
              </a:rPr>
              <a:t>Bing Entity Search</a:t>
            </a:r>
          </a:p>
        </p:txBody>
      </p:sp>
      <p:sp>
        <p:nvSpPr>
          <p:cNvPr id="61" name="Freeform 5">
            <a:extLst>
              <a:ext uri="{FF2B5EF4-FFF2-40B4-BE49-F238E27FC236}">
                <a16:creationId xmlns:a16="http://schemas.microsoft.com/office/drawing/2014/main" id="{DDD0682F-2A07-4D72-8D36-64BF9488DD5C}"/>
              </a:ext>
            </a:extLst>
          </p:cNvPr>
          <p:cNvSpPr>
            <a:spLocks/>
          </p:cNvSpPr>
          <p:nvPr/>
        </p:nvSpPr>
        <p:spPr bwMode="auto">
          <a:xfrm>
            <a:off x="4121940" y="4088696"/>
            <a:ext cx="675515" cy="226935"/>
          </a:xfrm>
          <a:custGeom>
            <a:avLst/>
            <a:gdLst>
              <a:gd name="T0" fmla="*/ 189 w 2554"/>
              <a:gd name="T1" fmla="*/ 668 h 858"/>
              <a:gd name="T2" fmla="*/ 189 w 2554"/>
              <a:gd name="T3" fmla="*/ 0 h 858"/>
              <a:gd name="T4" fmla="*/ 0 w 2554"/>
              <a:gd name="T5" fmla="*/ 0 h 858"/>
              <a:gd name="T6" fmla="*/ 0 w 2554"/>
              <a:gd name="T7" fmla="*/ 858 h 858"/>
              <a:gd name="T8" fmla="*/ 2554 w 2554"/>
              <a:gd name="T9" fmla="*/ 858 h 858"/>
              <a:gd name="T10" fmla="*/ 2554 w 2554"/>
              <a:gd name="T11" fmla="*/ 0 h 858"/>
              <a:gd name="T12" fmla="*/ 2365 w 2554"/>
              <a:gd name="T13" fmla="*/ 0 h 858"/>
              <a:gd name="T14" fmla="*/ 2365 w 2554"/>
              <a:gd name="T15" fmla="*/ 668 h 858"/>
              <a:gd name="T16" fmla="*/ 189 w 2554"/>
              <a:gd name="T17" fmla="*/ 66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4" h="858">
                <a:moveTo>
                  <a:pt x="189" y="668"/>
                </a:moveTo>
                <a:lnTo>
                  <a:pt x="189" y="0"/>
                </a:lnTo>
                <a:lnTo>
                  <a:pt x="0" y="0"/>
                </a:lnTo>
                <a:lnTo>
                  <a:pt x="0" y="858"/>
                </a:lnTo>
                <a:lnTo>
                  <a:pt x="2554" y="858"/>
                </a:lnTo>
                <a:lnTo>
                  <a:pt x="2554" y="0"/>
                </a:lnTo>
                <a:lnTo>
                  <a:pt x="2365" y="0"/>
                </a:lnTo>
                <a:lnTo>
                  <a:pt x="2365" y="668"/>
                </a:lnTo>
                <a:lnTo>
                  <a:pt x="189" y="668"/>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4" name="Group 73">
            <a:extLst>
              <a:ext uri="{FF2B5EF4-FFF2-40B4-BE49-F238E27FC236}">
                <a16:creationId xmlns:a16="http://schemas.microsoft.com/office/drawing/2014/main" id="{24AED354-5AC6-44E2-97FB-6776EC82FF89}"/>
              </a:ext>
            </a:extLst>
          </p:cNvPr>
          <p:cNvGrpSpPr>
            <a:grpSpLocks noChangeAspect="1"/>
          </p:cNvGrpSpPr>
          <p:nvPr/>
        </p:nvGrpSpPr>
        <p:grpSpPr bwMode="auto">
          <a:xfrm>
            <a:off x="7438295" y="3908472"/>
            <a:ext cx="571579" cy="587383"/>
            <a:chOff x="-2" y="0"/>
            <a:chExt cx="2170" cy="2230"/>
          </a:xfrm>
          <a:solidFill>
            <a:srgbClr val="047CDA"/>
          </a:solidFill>
        </p:grpSpPr>
        <p:sp>
          <p:nvSpPr>
            <p:cNvPr id="75" name="Freeform 9">
              <a:extLst>
                <a:ext uri="{FF2B5EF4-FFF2-40B4-BE49-F238E27FC236}">
                  <a16:creationId xmlns:a16="http://schemas.microsoft.com/office/drawing/2014/main" id="{EC9B474D-5443-4EFC-AA0D-ABB61D356C8C}"/>
                </a:ext>
              </a:extLst>
            </p:cNvPr>
            <p:cNvSpPr>
              <a:spLocks noEditPoints="1"/>
            </p:cNvSpPr>
            <p:nvPr/>
          </p:nvSpPr>
          <p:spPr bwMode="auto">
            <a:xfrm>
              <a:off x="-2" y="0"/>
              <a:ext cx="2170" cy="223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0">
              <a:extLst>
                <a:ext uri="{FF2B5EF4-FFF2-40B4-BE49-F238E27FC236}">
                  <a16:creationId xmlns:a16="http://schemas.microsoft.com/office/drawing/2014/main" id="{223C7FF6-4F77-459D-B37E-ED35FF4E4F29}"/>
                </a:ext>
              </a:extLst>
            </p:cNvPr>
            <p:cNvSpPr>
              <a:spLocks noEditPoints="1"/>
            </p:cNvSpPr>
            <p:nvPr/>
          </p:nvSpPr>
          <p:spPr bwMode="auto">
            <a:xfrm>
              <a:off x="843" y="379"/>
              <a:ext cx="946" cy="951"/>
            </a:xfrm>
            <a:custGeom>
              <a:avLst/>
              <a:gdLst>
                <a:gd name="T0" fmla="*/ 228 w 455"/>
                <a:gd name="T1" fmla="*/ 319 h 456"/>
                <a:gd name="T2" fmla="*/ 137 w 455"/>
                <a:gd name="T3" fmla="*/ 228 h 456"/>
                <a:gd name="T4" fmla="*/ 228 w 455"/>
                <a:gd name="T5" fmla="*/ 137 h 456"/>
                <a:gd name="T6" fmla="*/ 319 w 455"/>
                <a:gd name="T7" fmla="*/ 228 h 456"/>
                <a:gd name="T8" fmla="*/ 228 w 455"/>
                <a:gd name="T9" fmla="*/ 319 h 456"/>
                <a:gd name="T10" fmla="*/ 400 w 455"/>
                <a:gd name="T11" fmla="*/ 180 h 456"/>
                <a:gd name="T12" fmla="*/ 383 w 455"/>
                <a:gd name="T13" fmla="*/ 140 h 456"/>
                <a:gd name="T14" fmla="*/ 411 w 455"/>
                <a:gd name="T15" fmla="*/ 90 h 456"/>
                <a:gd name="T16" fmla="*/ 366 w 455"/>
                <a:gd name="T17" fmla="*/ 45 h 456"/>
                <a:gd name="T18" fmla="*/ 316 w 455"/>
                <a:gd name="T19" fmla="*/ 73 h 456"/>
                <a:gd name="T20" fmla="*/ 275 w 455"/>
                <a:gd name="T21" fmla="*/ 56 h 456"/>
                <a:gd name="T22" fmla="*/ 259 w 455"/>
                <a:gd name="T23" fmla="*/ 0 h 456"/>
                <a:gd name="T24" fmla="*/ 196 w 455"/>
                <a:gd name="T25" fmla="*/ 0 h 456"/>
                <a:gd name="T26" fmla="*/ 180 w 455"/>
                <a:gd name="T27" fmla="*/ 56 h 456"/>
                <a:gd name="T28" fmla="*/ 139 w 455"/>
                <a:gd name="T29" fmla="*/ 73 h 456"/>
                <a:gd name="T30" fmla="*/ 89 w 455"/>
                <a:gd name="T31" fmla="*/ 45 h 456"/>
                <a:gd name="T32" fmla="*/ 44 w 455"/>
                <a:gd name="T33" fmla="*/ 90 h 456"/>
                <a:gd name="T34" fmla="*/ 72 w 455"/>
                <a:gd name="T35" fmla="*/ 140 h 456"/>
                <a:gd name="T36" fmla="*/ 55 w 455"/>
                <a:gd name="T37" fmla="*/ 180 h 456"/>
                <a:gd name="T38" fmla="*/ 0 w 455"/>
                <a:gd name="T39" fmla="*/ 196 h 456"/>
                <a:gd name="T40" fmla="*/ 0 w 455"/>
                <a:gd name="T41" fmla="*/ 260 h 456"/>
                <a:gd name="T42" fmla="*/ 55 w 455"/>
                <a:gd name="T43" fmla="*/ 276 h 456"/>
                <a:gd name="T44" fmla="*/ 72 w 455"/>
                <a:gd name="T45" fmla="*/ 316 h 456"/>
                <a:gd name="T46" fmla="*/ 44 w 455"/>
                <a:gd name="T47" fmla="*/ 366 h 456"/>
                <a:gd name="T48" fmla="*/ 89 w 455"/>
                <a:gd name="T49" fmla="*/ 411 h 456"/>
                <a:gd name="T50" fmla="*/ 139 w 455"/>
                <a:gd name="T51" fmla="*/ 383 h 456"/>
                <a:gd name="T52" fmla="*/ 180 w 455"/>
                <a:gd name="T53" fmla="*/ 400 h 456"/>
                <a:gd name="T54" fmla="*/ 196 w 455"/>
                <a:gd name="T55" fmla="*/ 456 h 456"/>
                <a:gd name="T56" fmla="*/ 259 w 455"/>
                <a:gd name="T57" fmla="*/ 456 h 456"/>
                <a:gd name="T58" fmla="*/ 275 w 455"/>
                <a:gd name="T59" fmla="*/ 400 h 456"/>
                <a:gd name="T60" fmla="*/ 316 w 455"/>
                <a:gd name="T61" fmla="*/ 383 h 456"/>
                <a:gd name="T62" fmla="*/ 366 w 455"/>
                <a:gd name="T63" fmla="*/ 411 h 456"/>
                <a:gd name="T64" fmla="*/ 411 w 455"/>
                <a:gd name="T65" fmla="*/ 366 h 456"/>
                <a:gd name="T66" fmla="*/ 383 w 455"/>
                <a:gd name="T67" fmla="*/ 316 h 456"/>
                <a:gd name="T68" fmla="*/ 400 w 455"/>
                <a:gd name="T69" fmla="*/ 276 h 456"/>
                <a:gd name="T70" fmla="*/ 455 w 455"/>
                <a:gd name="T71" fmla="*/ 260 h 456"/>
                <a:gd name="T72" fmla="*/ 455 w 455"/>
                <a:gd name="T73" fmla="*/ 196 h 456"/>
                <a:gd name="T74" fmla="*/ 400 w 455"/>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5" h="456">
                  <a:moveTo>
                    <a:pt x="228" y="319"/>
                  </a:moveTo>
                  <a:cubicBezTo>
                    <a:pt x="177" y="319"/>
                    <a:pt x="137" y="278"/>
                    <a:pt x="137" y="228"/>
                  </a:cubicBezTo>
                  <a:cubicBezTo>
                    <a:pt x="137" y="178"/>
                    <a:pt x="177" y="137"/>
                    <a:pt x="228" y="137"/>
                  </a:cubicBezTo>
                  <a:cubicBezTo>
                    <a:pt x="278" y="137"/>
                    <a:pt x="319" y="178"/>
                    <a:pt x="319" y="228"/>
                  </a:cubicBezTo>
                  <a:cubicBezTo>
                    <a:pt x="319" y="278"/>
                    <a:pt x="278" y="319"/>
                    <a:pt x="228" y="319"/>
                  </a:cubicBezTo>
                  <a:close/>
                  <a:moveTo>
                    <a:pt x="400" y="180"/>
                  </a:moveTo>
                  <a:cubicBezTo>
                    <a:pt x="396" y="166"/>
                    <a:pt x="390" y="152"/>
                    <a:pt x="383" y="140"/>
                  </a:cubicBezTo>
                  <a:cubicBezTo>
                    <a:pt x="411" y="90"/>
                    <a:pt x="411" y="90"/>
                    <a:pt x="411" y="90"/>
                  </a:cubicBezTo>
                  <a:cubicBezTo>
                    <a:pt x="366" y="45"/>
                    <a:pt x="366" y="45"/>
                    <a:pt x="366" y="45"/>
                  </a:cubicBezTo>
                  <a:cubicBezTo>
                    <a:pt x="316" y="73"/>
                    <a:pt x="316" y="73"/>
                    <a:pt x="316" y="73"/>
                  </a:cubicBezTo>
                  <a:cubicBezTo>
                    <a:pt x="303" y="65"/>
                    <a:pt x="290" y="60"/>
                    <a:pt x="275" y="56"/>
                  </a:cubicBezTo>
                  <a:cubicBezTo>
                    <a:pt x="259" y="0"/>
                    <a:pt x="259" y="0"/>
                    <a:pt x="259" y="0"/>
                  </a:cubicBezTo>
                  <a:cubicBezTo>
                    <a:pt x="196" y="0"/>
                    <a:pt x="196" y="0"/>
                    <a:pt x="196" y="0"/>
                  </a:cubicBezTo>
                  <a:cubicBezTo>
                    <a:pt x="180" y="56"/>
                    <a:pt x="180" y="56"/>
                    <a:pt x="180" y="56"/>
                  </a:cubicBezTo>
                  <a:cubicBezTo>
                    <a:pt x="166" y="60"/>
                    <a:pt x="152" y="65"/>
                    <a:pt x="139" y="73"/>
                  </a:cubicBezTo>
                  <a:cubicBezTo>
                    <a:pt x="89" y="45"/>
                    <a:pt x="89" y="45"/>
                    <a:pt x="89" y="45"/>
                  </a:cubicBezTo>
                  <a:cubicBezTo>
                    <a:pt x="44" y="90"/>
                    <a:pt x="44" y="90"/>
                    <a:pt x="44" y="90"/>
                  </a:cubicBezTo>
                  <a:cubicBezTo>
                    <a:pt x="72" y="140"/>
                    <a:pt x="72" y="140"/>
                    <a:pt x="72" y="140"/>
                  </a:cubicBezTo>
                  <a:cubicBezTo>
                    <a:pt x="65" y="152"/>
                    <a:pt x="59" y="166"/>
                    <a:pt x="55" y="180"/>
                  </a:cubicBezTo>
                  <a:cubicBezTo>
                    <a:pt x="0" y="196"/>
                    <a:pt x="0" y="196"/>
                    <a:pt x="0" y="196"/>
                  </a:cubicBezTo>
                  <a:cubicBezTo>
                    <a:pt x="0" y="260"/>
                    <a:pt x="0" y="260"/>
                    <a:pt x="0" y="260"/>
                  </a:cubicBezTo>
                  <a:cubicBezTo>
                    <a:pt x="55" y="276"/>
                    <a:pt x="55" y="276"/>
                    <a:pt x="55" y="276"/>
                  </a:cubicBezTo>
                  <a:cubicBezTo>
                    <a:pt x="59" y="290"/>
                    <a:pt x="65" y="304"/>
                    <a:pt x="72" y="316"/>
                  </a:cubicBezTo>
                  <a:cubicBezTo>
                    <a:pt x="44" y="366"/>
                    <a:pt x="44" y="366"/>
                    <a:pt x="44" y="366"/>
                  </a:cubicBezTo>
                  <a:cubicBezTo>
                    <a:pt x="89" y="411"/>
                    <a:pt x="89" y="411"/>
                    <a:pt x="89" y="411"/>
                  </a:cubicBezTo>
                  <a:cubicBezTo>
                    <a:pt x="139" y="383"/>
                    <a:pt x="139" y="383"/>
                    <a:pt x="139" y="383"/>
                  </a:cubicBezTo>
                  <a:cubicBezTo>
                    <a:pt x="152" y="391"/>
                    <a:pt x="166" y="396"/>
                    <a:pt x="180" y="400"/>
                  </a:cubicBezTo>
                  <a:cubicBezTo>
                    <a:pt x="196" y="456"/>
                    <a:pt x="196" y="456"/>
                    <a:pt x="196" y="456"/>
                  </a:cubicBezTo>
                  <a:cubicBezTo>
                    <a:pt x="259" y="456"/>
                    <a:pt x="259" y="456"/>
                    <a:pt x="259" y="456"/>
                  </a:cubicBezTo>
                  <a:cubicBezTo>
                    <a:pt x="275" y="400"/>
                    <a:pt x="275" y="400"/>
                    <a:pt x="275" y="400"/>
                  </a:cubicBezTo>
                  <a:cubicBezTo>
                    <a:pt x="290" y="396"/>
                    <a:pt x="303" y="391"/>
                    <a:pt x="316" y="383"/>
                  </a:cubicBezTo>
                  <a:cubicBezTo>
                    <a:pt x="366" y="411"/>
                    <a:pt x="366" y="411"/>
                    <a:pt x="366" y="411"/>
                  </a:cubicBezTo>
                  <a:cubicBezTo>
                    <a:pt x="411" y="366"/>
                    <a:pt x="411" y="366"/>
                    <a:pt x="411" y="366"/>
                  </a:cubicBezTo>
                  <a:cubicBezTo>
                    <a:pt x="383" y="316"/>
                    <a:pt x="383" y="316"/>
                    <a:pt x="383" y="316"/>
                  </a:cubicBezTo>
                  <a:cubicBezTo>
                    <a:pt x="390" y="304"/>
                    <a:pt x="396" y="290"/>
                    <a:pt x="400" y="276"/>
                  </a:cubicBezTo>
                  <a:cubicBezTo>
                    <a:pt x="455" y="260"/>
                    <a:pt x="455" y="260"/>
                    <a:pt x="455" y="260"/>
                  </a:cubicBezTo>
                  <a:cubicBezTo>
                    <a:pt x="455" y="196"/>
                    <a:pt x="455" y="196"/>
                    <a:pt x="455"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Freeform 14">
            <a:extLst>
              <a:ext uri="{FF2B5EF4-FFF2-40B4-BE49-F238E27FC236}">
                <a16:creationId xmlns:a16="http://schemas.microsoft.com/office/drawing/2014/main" id="{B576A291-EECD-4E59-8A09-17BC1D1EB099}"/>
              </a:ext>
            </a:extLst>
          </p:cNvPr>
          <p:cNvSpPr>
            <a:spLocks/>
          </p:cNvSpPr>
          <p:nvPr/>
        </p:nvSpPr>
        <p:spPr bwMode="auto">
          <a:xfrm>
            <a:off x="9100722" y="1836683"/>
            <a:ext cx="507097" cy="604439"/>
          </a:xfrm>
          <a:custGeom>
            <a:avLst/>
            <a:gdLst>
              <a:gd name="T0" fmla="*/ 612 w 956"/>
              <a:gd name="T1" fmla="*/ 110 h 1138"/>
              <a:gd name="T2" fmla="*/ 478 w 956"/>
              <a:gd name="T3" fmla="*/ 0 h 1138"/>
              <a:gd name="T4" fmla="*/ 341 w 956"/>
              <a:gd name="T5" fmla="*/ 137 h 1138"/>
              <a:gd name="T6" fmla="*/ 478 w 956"/>
              <a:gd name="T7" fmla="*/ 273 h 1138"/>
              <a:gd name="T8" fmla="*/ 598 w 956"/>
              <a:gd name="T9" fmla="*/ 202 h 1138"/>
              <a:gd name="T10" fmla="*/ 862 w 956"/>
              <a:gd name="T11" fmla="*/ 523 h 1138"/>
              <a:gd name="T12" fmla="*/ 94 w 956"/>
              <a:gd name="T13" fmla="*/ 523 h 1138"/>
              <a:gd name="T14" fmla="*/ 275 w 956"/>
              <a:gd name="T15" fmla="*/ 240 h 1138"/>
              <a:gd name="T16" fmla="*/ 251 w 956"/>
              <a:gd name="T17" fmla="*/ 148 h 1138"/>
              <a:gd name="T18" fmla="*/ 0 w 956"/>
              <a:gd name="T19" fmla="*/ 569 h 1138"/>
              <a:gd name="T20" fmla="*/ 344 w 956"/>
              <a:gd name="T21" fmla="*/ 1028 h 1138"/>
              <a:gd name="T22" fmla="*/ 478 w 956"/>
              <a:gd name="T23" fmla="*/ 1138 h 1138"/>
              <a:gd name="T24" fmla="*/ 615 w 956"/>
              <a:gd name="T25" fmla="*/ 1001 h 1138"/>
              <a:gd name="T26" fmla="*/ 478 w 956"/>
              <a:gd name="T27" fmla="*/ 865 h 1138"/>
              <a:gd name="T28" fmla="*/ 358 w 956"/>
              <a:gd name="T29" fmla="*/ 936 h 1138"/>
              <a:gd name="T30" fmla="*/ 94 w 956"/>
              <a:gd name="T31" fmla="*/ 615 h 1138"/>
              <a:gd name="T32" fmla="*/ 862 w 956"/>
              <a:gd name="T33" fmla="*/ 615 h 1138"/>
              <a:gd name="T34" fmla="*/ 681 w 956"/>
              <a:gd name="T35" fmla="*/ 898 h 1138"/>
              <a:gd name="T36" fmla="*/ 705 w 956"/>
              <a:gd name="T37" fmla="*/ 990 h 1138"/>
              <a:gd name="T38" fmla="*/ 956 w 956"/>
              <a:gd name="T39" fmla="*/ 569 h 1138"/>
              <a:gd name="T40" fmla="*/ 612 w 956"/>
              <a:gd name="T41" fmla="*/ 11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6" h="1138">
                <a:moveTo>
                  <a:pt x="612" y="110"/>
                </a:moveTo>
                <a:cubicBezTo>
                  <a:pt x="600" y="48"/>
                  <a:pt x="544" y="0"/>
                  <a:pt x="478" y="0"/>
                </a:cubicBezTo>
                <a:cubicBezTo>
                  <a:pt x="403" y="0"/>
                  <a:pt x="341" y="61"/>
                  <a:pt x="341" y="137"/>
                </a:cubicBezTo>
                <a:cubicBezTo>
                  <a:pt x="341" y="212"/>
                  <a:pt x="403" y="273"/>
                  <a:pt x="478" y="273"/>
                </a:cubicBezTo>
                <a:cubicBezTo>
                  <a:pt x="530" y="273"/>
                  <a:pt x="575" y="244"/>
                  <a:pt x="598" y="202"/>
                </a:cubicBezTo>
                <a:cubicBezTo>
                  <a:pt x="739" y="248"/>
                  <a:pt x="844" y="372"/>
                  <a:pt x="862" y="523"/>
                </a:cubicBezTo>
                <a:cubicBezTo>
                  <a:pt x="94" y="523"/>
                  <a:pt x="94" y="523"/>
                  <a:pt x="94" y="523"/>
                </a:cubicBezTo>
                <a:cubicBezTo>
                  <a:pt x="108" y="403"/>
                  <a:pt x="177" y="300"/>
                  <a:pt x="275" y="240"/>
                </a:cubicBezTo>
                <a:cubicBezTo>
                  <a:pt x="261" y="212"/>
                  <a:pt x="253" y="181"/>
                  <a:pt x="251" y="148"/>
                </a:cubicBezTo>
                <a:cubicBezTo>
                  <a:pt x="102" y="229"/>
                  <a:pt x="0" y="387"/>
                  <a:pt x="0" y="569"/>
                </a:cubicBezTo>
                <a:cubicBezTo>
                  <a:pt x="0" y="786"/>
                  <a:pt x="145" y="970"/>
                  <a:pt x="344" y="1028"/>
                </a:cubicBezTo>
                <a:cubicBezTo>
                  <a:pt x="356" y="1090"/>
                  <a:pt x="412" y="1138"/>
                  <a:pt x="478" y="1138"/>
                </a:cubicBezTo>
                <a:cubicBezTo>
                  <a:pt x="553" y="1138"/>
                  <a:pt x="615" y="1077"/>
                  <a:pt x="615" y="1001"/>
                </a:cubicBezTo>
                <a:cubicBezTo>
                  <a:pt x="615" y="926"/>
                  <a:pt x="553" y="865"/>
                  <a:pt x="478" y="865"/>
                </a:cubicBezTo>
                <a:cubicBezTo>
                  <a:pt x="426" y="865"/>
                  <a:pt x="381" y="894"/>
                  <a:pt x="358" y="936"/>
                </a:cubicBezTo>
                <a:cubicBezTo>
                  <a:pt x="217" y="890"/>
                  <a:pt x="112" y="766"/>
                  <a:pt x="94" y="615"/>
                </a:cubicBezTo>
                <a:cubicBezTo>
                  <a:pt x="862" y="615"/>
                  <a:pt x="862" y="615"/>
                  <a:pt x="862" y="615"/>
                </a:cubicBezTo>
                <a:cubicBezTo>
                  <a:pt x="848" y="735"/>
                  <a:pt x="779" y="838"/>
                  <a:pt x="681" y="898"/>
                </a:cubicBezTo>
                <a:cubicBezTo>
                  <a:pt x="695" y="926"/>
                  <a:pt x="703" y="957"/>
                  <a:pt x="705" y="990"/>
                </a:cubicBezTo>
                <a:cubicBezTo>
                  <a:pt x="854" y="909"/>
                  <a:pt x="956" y="751"/>
                  <a:pt x="956" y="569"/>
                </a:cubicBezTo>
                <a:cubicBezTo>
                  <a:pt x="956" y="352"/>
                  <a:pt x="811" y="168"/>
                  <a:pt x="612" y="110"/>
                </a:cubicBezTo>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
        <p:nvSpPr>
          <p:cNvPr id="87" name="Freeform 34">
            <a:extLst>
              <a:ext uri="{FF2B5EF4-FFF2-40B4-BE49-F238E27FC236}">
                <a16:creationId xmlns:a16="http://schemas.microsoft.com/office/drawing/2014/main" id="{0881B0A7-0D8C-410E-83EA-594E9161106B}"/>
              </a:ext>
            </a:extLst>
          </p:cNvPr>
          <p:cNvSpPr>
            <a:spLocks noEditPoints="1"/>
          </p:cNvSpPr>
          <p:nvPr/>
        </p:nvSpPr>
        <p:spPr bwMode="auto">
          <a:xfrm>
            <a:off x="2563940" y="1862295"/>
            <a:ext cx="538089" cy="553215"/>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6" name="Group 45">
            <a:extLst>
              <a:ext uri="{FF2B5EF4-FFF2-40B4-BE49-F238E27FC236}">
                <a16:creationId xmlns:a16="http://schemas.microsoft.com/office/drawing/2014/main" id="{08535CDD-C02F-46A5-9E8C-068F7FAF0741}"/>
              </a:ext>
            </a:extLst>
          </p:cNvPr>
          <p:cNvGrpSpPr/>
          <p:nvPr/>
        </p:nvGrpSpPr>
        <p:grpSpPr>
          <a:xfrm>
            <a:off x="864" y="254613"/>
            <a:ext cx="1188839" cy="956984"/>
            <a:chOff x="864" y="254613"/>
            <a:chExt cx="1188839" cy="956984"/>
          </a:xfrm>
        </p:grpSpPr>
        <p:sp>
          <p:nvSpPr>
            <p:cNvPr id="53" name="Rectangle 52"/>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Freeform 34">
              <a:extLst>
                <a:ext uri="{FF2B5EF4-FFF2-40B4-BE49-F238E27FC236}">
                  <a16:creationId xmlns:a16="http://schemas.microsoft.com/office/drawing/2014/main" id="{CF4F4730-4524-4CE8-A45D-32DD40E57BE3}"/>
                </a:ext>
              </a:extLst>
            </p:cNvPr>
            <p:cNvSpPr>
              <a:spLocks noEditPoints="1"/>
            </p:cNvSpPr>
            <p:nvPr/>
          </p:nvSpPr>
          <p:spPr bwMode="auto">
            <a:xfrm>
              <a:off x="359494" y="511017"/>
              <a:ext cx="441256" cy="45366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6" name="TextBox 35">
            <a:extLst>
              <a:ext uri="{FF2B5EF4-FFF2-40B4-BE49-F238E27FC236}">
                <a16:creationId xmlns:a16="http://schemas.microsoft.com/office/drawing/2014/main" id="{E9A25F4F-1BD3-4815-B421-47FC08B6424E}"/>
              </a:ext>
            </a:extLst>
          </p:cNvPr>
          <p:cNvSpPr txBox="1"/>
          <p:nvPr/>
        </p:nvSpPr>
        <p:spPr>
          <a:xfrm>
            <a:off x="6518196" y="4612966"/>
            <a:ext cx="2411776" cy="398058"/>
          </a:xfrm>
          <a:prstGeom prst="rect">
            <a:avLst/>
          </a:prstGeom>
          <a:noFill/>
        </p:spPr>
        <p:txBody>
          <a:bodyPr wrap="square" lIns="175736" tIns="89630" rIns="175736" bIns="89630" rtlCol="0" anchor="ctr">
            <a:spAutoFit/>
          </a:bodyPr>
          <a:lstStyle>
            <a:defPPr>
              <a:defRPr lang="en-US"/>
            </a:defPPr>
            <a:lvl1pPr algn="ctr" defTabSz="914139">
              <a:lnSpc>
                <a:spcPct val="90000"/>
              </a:lnSpc>
              <a:spcAft>
                <a:spcPts val="575"/>
              </a:spcAft>
              <a:defRPr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r>
              <a:rPr lang="en-US" dirty="0">
                <a:gradFill>
                  <a:gsLst>
                    <a:gs pos="2326">
                      <a:schemeClr val="tx1"/>
                    </a:gs>
                    <a:gs pos="30000">
                      <a:schemeClr val="tx1"/>
                    </a:gs>
                  </a:gsLst>
                  <a:lin ang="5400000" scaled="1"/>
                </a:gradFill>
              </a:rPr>
              <a:t>Bing Custom Search</a:t>
            </a:r>
          </a:p>
        </p:txBody>
      </p:sp>
      <p:sp>
        <p:nvSpPr>
          <p:cNvPr id="37" name="TextBox 36">
            <a:extLst>
              <a:ext uri="{FF2B5EF4-FFF2-40B4-BE49-F238E27FC236}">
                <a16:creationId xmlns:a16="http://schemas.microsoft.com/office/drawing/2014/main" id="{7C6FDB97-673F-4BEA-9F9E-72D739D8A2C5}"/>
              </a:ext>
            </a:extLst>
          </p:cNvPr>
          <p:cNvSpPr txBox="1"/>
          <p:nvPr/>
        </p:nvSpPr>
        <p:spPr>
          <a:xfrm>
            <a:off x="4873824" y="2546990"/>
            <a:ext cx="2411776" cy="501135"/>
          </a:xfrm>
          <a:prstGeom prst="rect">
            <a:avLst/>
          </a:prstGeom>
          <a:noFill/>
        </p:spPr>
        <p:txBody>
          <a:bodyPr wrap="square" lIns="175736" tIns="89630" rIns="175736" bIns="89630" rtlCol="0" anchor="ctr">
            <a:spAutoFit/>
          </a:bodyPr>
          <a:lstStyle>
            <a:defPPr>
              <a:defRPr lang="en-US"/>
            </a:defPPr>
            <a:lvl1pPr algn="ctr" defTabSz="914139">
              <a:lnSpc>
                <a:spcPct val="90000"/>
              </a:lnSpc>
              <a:spcAft>
                <a:spcPts val="575"/>
              </a:spcAft>
              <a:defRPr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r>
              <a:rPr lang="en-US" dirty="0">
                <a:gradFill>
                  <a:gsLst>
                    <a:gs pos="2326">
                      <a:schemeClr val="tx1"/>
                    </a:gs>
                    <a:gs pos="30000">
                      <a:schemeClr val="tx1"/>
                    </a:gs>
                  </a:gsLst>
                  <a:lin ang="5400000" scaled="1"/>
                </a:gradFill>
              </a:rPr>
              <a:t>Bing Visual Search</a:t>
            </a:r>
          </a:p>
        </p:txBody>
      </p:sp>
      <p:sp>
        <p:nvSpPr>
          <p:cNvPr id="3" name="Rectangle 2">
            <a:extLst>
              <a:ext uri="{FF2B5EF4-FFF2-40B4-BE49-F238E27FC236}">
                <a16:creationId xmlns:a16="http://schemas.microsoft.com/office/drawing/2014/main" id="{D1C8BD93-FA5C-4CA2-A689-A7935379688C}"/>
              </a:ext>
            </a:extLst>
          </p:cNvPr>
          <p:cNvSpPr/>
          <p:nvPr/>
        </p:nvSpPr>
        <p:spPr>
          <a:xfrm>
            <a:off x="4525986" y="2970255"/>
            <a:ext cx="3166725" cy="738664"/>
          </a:xfrm>
          <a:prstGeom prst="rect">
            <a:avLst/>
          </a:prstGeom>
        </p:spPr>
        <p:txBody>
          <a:bodyPr wrap="square">
            <a:spAutoFit/>
          </a:bodyPr>
          <a:lstStyle/>
          <a:p>
            <a:pPr algn="ctr"/>
            <a:r>
              <a:rPr lang="en-US" sz="1400" dirty="0">
                <a:gradFill>
                  <a:gsLst>
                    <a:gs pos="2326">
                      <a:schemeClr val="tx1"/>
                    </a:gs>
                    <a:gs pos="30000">
                      <a:schemeClr val="tx1"/>
                    </a:gs>
                  </a:gsLst>
                  <a:lin ang="5400000" scaled="1"/>
                </a:gradFill>
                <a:latin typeface="Segoe UI" panose="020B0502040204020203" pitchFamily="34" charset="0"/>
              </a:rPr>
              <a:t>Get rich insights to help build compelling image applications on </a:t>
            </a:r>
            <a:br>
              <a:rPr lang="en-US" sz="1400" dirty="0">
                <a:gradFill>
                  <a:gsLst>
                    <a:gs pos="2326">
                      <a:schemeClr val="tx1"/>
                    </a:gs>
                    <a:gs pos="30000">
                      <a:schemeClr val="tx1"/>
                    </a:gs>
                  </a:gsLst>
                  <a:lin ang="5400000" scaled="1"/>
                </a:gradFill>
                <a:latin typeface="Segoe UI" panose="020B0502040204020203" pitchFamily="34" charset="0"/>
              </a:rPr>
            </a:br>
            <a:r>
              <a:rPr lang="en-US" sz="1400" dirty="0">
                <a:gradFill>
                  <a:gsLst>
                    <a:gs pos="2326">
                      <a:schemeClr val="tx1"/>
                    </a:gs>
                    <a:gs pos="30000">
                      <a:schemeClr val="tx1"/>
                    </a:gs>
                  </a:gsLst>
                  <a:lin ang="5400000" scaled="1"/>
                </a:gradFill>
                <a:latin typeface="Segoe UI" panose="020B0502040204020203" pitchFamily="34" charset="0"/>
              </a:rPr>
              <a:t>the device of your choice</a:t>
            </a:r>
            <a:endParaRPr lang="en-US" sz="1400" dirty="0">
              <a:gradFill>
                <a:gsLst>
                  <a:gs pos="2326">
                    <a:schemeClr val="tx1"/>
                  </a:gs>
                  <a:gs pos="30000">
                    <a:schemeClr val="tx1"/>
                  </a:gs>
                </a:gsLst>
                <a:lin ang="5400000" scaled="1"/>
              </a:gradFill>
            </a:endParaRPr>
          </a:p>
        </p:txBody>
      </p:sp>
      <p:sp>
        <p:nvSpPr>
          <p:cNvPr id="4" name="Rectangle 3">
            <a:extLst>
              <a:ext uri="{FF2B5EF4-FFF2-40B4-BE49-F238E27FC236}">
                <a16:creationId xmlns:a16="http://schemas.microsoft.com/office/drawing/2014/main" id="{825FAA17-0964-4AB7-9181-2D4BF1F27E47}"/>
              </a:ext>
            </a:extLst>
          </p:cNvPr>
          <p:cNvSpPr/>
          <p:nvPr/>
        </p:nvSpPr>
        <p:spPr>
          <a:xfrm>
            <a:off x="4221989" y="6217739"/>
            <a:ext cx="3260035" cy="307777"/>
          </a:xfrm>
          <a:prstGeom prst="rect">
            <a:avLst/>
          </a:prstGeom>
        </p:spPr>
        <p:txBody>
          <a:bodyPr wrap="square" anchor="t">
            <a:spAutoFit/>
          </a:bodyPr>
          <a:lstStyle/>
          <a:p>
            <a:pPr algn="ctr"/>
            <a:endParaRPr lang="en-US" sz="1400">
              <a:cs typeface="Segoe UI"/>
            </a:endParaRPr>
          </a:p>
        </p:txBody>
      </p:sp>
      <p:sp>
        <p:nvSpPr>
          <p:cNvPr id="5" name="Rectangle 4">
            <a:extLst>
              <a:ext uri="{FF2B5EF4-FFF2-40B4-BE49-F238E27FC236}">
                <a16:creationId xmlns:a16="http://schemas.microsoft.com/office/drawing/2014/main" id="{F2D13412-8036-4CDD-9407-BA32147E94B2}"/>
              </a:ext>
            </a:extLst>
          </p:cNvPr>
          <p:cNvSpPr/>
          <p:nvPr/>
        </p:nvSpPr>
        <p:spPr bwMode="auto">
          <a:xfrm>
            <a:off x="438150" y="5774153"/>
            <a:ext cx="11315700" cy="8212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gn="ctr" defTabSz="932472" fontAlgn="base">
              <a:spcAft>
                <a:spcPts val="500"/>
              </a:spcAft>
            </a:pPr>
            <a:r>
              <a:rPr lang="en-US" sz="1600" b="1" dirty="0">
                <a:gradFill>
                  <a:gsLst>
                    <a:gs pos="2326">
                      <a:schemeClr val="tx1"/>
                    </a:gs>
                    <a:gs pos="30000">
                      <a:schemeClr val="tx1"/>
                    </a:gs>
                  </a:gsLst>
                  <a:lin ang="5400000" scaled="1"/>
                </a:gradFill>
                <a:ea typeface="Segoe UI" pitchFamily="34" charset="0"/>
                <a:cs typeface="Segoe UI" pitchFamily="34" charset="0"/>
              </a:rPr>
              <a:t>Bing Statistics add-in</a:t>
            </a:r>
            <a:endParaRPr lang="en-US" sz="1600" dirty="0">
              <a:gradFill>
                <a:gsLst>
                  <a:gs pos="2326">
                    <a:schemeClr val="tx1"/>
                  </a:gs>
                  <a:gs pos="30000">
                    <a:schemeClr val="tx1"/>
                  </a:gs>
                </a:gsLst>
                <a:lin ang="5400000" scaled="1"/>
              </a:gradFill>
              <a:ea typeface="Segoe UI" pitchFamily="34" charset="0"/>
              <a:cs typeface="Segoe UI" pitchFamily="34" charset="0"/>
            </a:endParaRPr>
          </a:p>
          <a:p>
            <a:pPr algn="ctr" defTabSz="932472" fontAlgn="base"/>
            <a:r>
              <a:rPr lang="en-US" sz="1400" dirty="0">
                <a:gradFill>
                  <a:gsLst>
                    <a:gs pos="2326">
                      <a:schemeClr val="tx1"/>
                    </a:gs>
                    <a:gs pos="30000">
                      <a:schemeClr val="tx1"/>
                    </a:gs>
                  </a:gsLst>
                  <a:lin ang="5400000" scaled="1"/>
                </a:gradFill>
                <a:latin typeface="Segoe UI" panose="020B0502040204020203" pitchFamily="34" charset="0"/>
                <a:cs typeface="Segoe UI" panose="020B0502040204020203" pitchFamily="34" charset="0"/>
              </a:rPr>
              <a:t>Get powerful Bing API usage insights in an easy-to-use add-in</a:t>
            </a:r>
          </a:p>
        </p:txBody>
      </p:sp>
      <p:grpSp>
        <p:nvGrpSpPr>
          <p:cNvPr id="14" name="Group 13">
            <a:extLst>
              <a:ext uri="{FF2B5EF4-FFF2-40B4-BE49-F238E27FC236}">
                <a16:creationId xmlns:a16="http://schemas.microsoft.com/office/drawing/2014/main" id="{11A0C30F-D48B-4BD8-B303-7F8F8D5ADBB4}"/>
              </a:ext>
            </a:extLst>
          </p:cNvPr>
          <p:cNvGrpSpPr/>
          <p:nvPr/>
        </p:nvGrpSpPr>
        <p:grpSpPr>
          <a:xfrm>
            <a:off x="5778459" y="1816259"/>
            <a:ext cx="628655" cy="604520"/>
            <a:chOff x="5778459" y="1816259"/>
            <a:chExt cx="628655" cy="604520"/>
          </a:xfrm>
        </p:grpSpPr>
        <p:grpSp>
          <p:nvGrpSpPr>
            <p:cNvPr id="11" name="Group 10">
              <a:extLst>
                <a:ext uri="{FF2B5EF4-FFF2-40B4-BE49-F238E27FC236}">
                  <a16:creationId xmlns:a16="http://schemas.microsoft.com/office/drawing/2014/main" id="{FFFE24B8-40A6-4904-91C6-8361026F3DAF}"/>
                </a:ext>
              </a:extLst>
            </p:cNvPr>
            <p:cNvGrpSpPr/>
            <p:nvPr/>
          </p:nvGrpSpPr>
          <p:grpSpPr>
            <a:xfrm>
              <a:off x="5950744" y="1983350"/>
              <a:ext cx="269080" cy="269313"/>
              <a:chOff x="5950744" y="1983350"/>
              <a:chExt cx="269080" cy="269313"/>
            </a:xfrm>
          </p:grpSpPr>
          <p:sp>
            <p:nvSpPr>
              <p:cNvPr id="6" name="Oval 5">
                <a:extLst>
                  <a:ext uri="{FF2B5EF4-FFF2-40B4-BE49-F238E27FC236}">
                    <a16:creationId xmlns:a16="http://schemas.microsoft.com/office/drawing/2014/main" id="{A6B25D1A-ED85-47AB-9D7B-597308742605}"/>
                  </a:ext>
                </a:extLst>
              </p:cNvPr>
              <p:cNvSpPr/>
              <p:nvPr/>
            </p:nvSpPr>
            <p:spPr bwMode="auto">
              <a:xfrm>
                <a:off x="6007099" y="1983350"/>
                <a:ext cx="212725" cy="212725"/>
              </a:xfrm>
              <a:prstGeom prst="ellipse">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9B96FAE9-A0AF-4710-B182-B1FA4A7B362E}"/>
                  </a:ext>
                </a:extLst>
              </p:cNvPr>
              <p:cNvCxnSpPr>
                <a:cxnSpLocks/>
                <a:endCxn id="6" idx="3"/>
              </p:cNvCxnSpPr>
              <p:nvPr/>
            </p:nvCxnSpPr>
            <p:spPr>
              <a:xfrm flipV="1">
                <a:off x="5950744" y="2164922"/>
                <a:ext cx="87508" cy="87741"/>
              </a:xfrm>
              <a:prstGeom prst="line">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2" name="Rectangle 11">
              <a:extLst>
                <a:ext uri="{FF2B5EF4-FFF2-40B4-BE49-F238E27FC236}">
                  <a16:creationId xmlns:a16="http://schemas.microsoft.com/office/drawing/2014/main" id="{D90231E6-F6CF-4A35-8DC2-64BFEFD72EE3}"/>
                </a:ext>
              </a:extLst>
            </p:cNvPr>
            <p:cNvSpPr/>
            <p:nvPr/>
          </p:nvSpPr>
          <p:spPr bwMode="auto">
            <a:xfrm>
              <a:off x="5812631" y="1850231"/>
              <a:ext cx="545306" cy="547688"/>
            </a:xfrm>
            <a:prstGeom prst="rect">
              <a:avLst/>
            </a:prstGeom>
            <a:noFill/>
            <a:ln w="3810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sp>
          <p:nvSpPr>
            <p:cNvPr id="13" name="Rectangle 12">
              <a:extLst>
                <a:ext uri="{FF2B5EF4-FFF2-40B4-BE49-F238E27FC236}">
                  <a16:creationId xmlns:a16="http://schemas.microsoft.com/office/drawing/2014/main" id="{243E95D9-40A5-42D3-81D7-3F0224EDA1D7}"/>
                </a:ext>
              </a:extLst>
            </p:cNvPr>
            <p:cNvSpPr/>
            <p:nvPr/>
          </p:nvSpPr>
          <p:spPr bwMode="auto">
            <a:xfrm>
              <a:off x="5912644" y="1816259"/>
              <a:ext cx="350044" cy="7219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a:extLst>
                <a:ext uri="{FF2B5EF4-FFF2-40B4-BE49-F238E27FC236}">
                  <a16:creationId xmlns:a16="http://schemas.microsoft.com/office/drawing/2014/main" id="{E5C569E7-BCF9-47F0-8650-9D903DB24331}"/>
                </a:ext>
              </a:extLst>
            </p:cNvPr>
            <p:cNvSpPr/>
            <p:nvPr/>
          </p:nvSpPr>
          <p:spPr bwMode="auto">
            <a:xfrm>
              <a:off x="5912644" y="2375059"/>
              <a:ext cx="350044" cy="457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a:extLst>
                <a:ext uri="{FF2B5EF4-FFF2-40B4-BE49-F238E27FC236}">
                  <a16:creationId xmlns:a16="http://schemas.microsoft.com/office/drawing/2014/main" id="{AB380C22-B32A-4640-8D4B-1C71CB29CE0F}"/>
                </a:ext>
              </a:extLst>
            </p:cNvPr>
            <p:cNvSpPr/>
            <p:nvPr/>
          </p:nvSpPr>
          <p:spPr bwMode="auto">
            <a:xfrm rot="5400000">
              <a:off x="5652252" y="2068117"/>
              <a:ext cx="350044" cy="9763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a:extLst>
                <a:ext uri="{FF2B5EF4-FFF2-40B4-BE49-F238E27FC236}">
                  <a16:creationId xmlns:a16="http://schemas.microsoft.com/office/drawing/2014/main" id="{0B93B092-E884-4F1B-BE0C-8A35E2507C0F}"/>
                </a:ext>
              </a:extLst>
            </p:cNvPr>
            <p:cNvSpPr/>
            <p:nvPr/>
          </p:nvSpPr>
          <p:spPr bwMode="auto">
            <a:xfrm rot="5400000" flipV="1">
              <a:off x="6183277" y="2075260"/>
              <a:ext cx="350044" cy="9763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5952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63" presetClass="path" presetSubtype="0" decel="100000" fill="hold" nodeType="withEffect">
                                  <p:stCondLst>
                                    <p:cond delay="0"/>
                                  </p:stCondLst>
                                  <p:childTnLst>
                                    <p:animMotion origin="layout" path="M -0.02617 2.22222E-6 L -2.91667E-6 2.22222E-6 " pathEditMode="relative" rAng="0" ptsTypes="AA">
                                      <p:cBhvr>
                                        <p:cTn id="9" dur="500" fill="hold"/>
                                        <p:tgtEl>
                                          <p:spTgt spid="46"/>
                                        </p:tgtEl>
                                        <p:attrNameLst>
                                          <p:attrName>ppt_x</p:attrName>
                                          <p:attrName>ppt_y</p:attrName>
                                        </p:attrNameLst>
                                      </p:cBhvr>
                                      <p:rCtr x="1302" y="0"/>
                                    </p:animMotion>
                                  </p:childTnLst>
                                </p:cTn>
                              </p:par>
                              <p:par>
                                <p:cTn id="10" presetID="10" presetClass="entr" presetSubtype="0" fill="hold" grpId="0" nodeType="with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fade">
                                      <p:cBhvr>
                                        <p:cTn id="12" dur="500"/>
                                        <p:tgtEl>
                                          <p:spTgt spid="48"/>
                                        </p:tgtEl>
                                      </p:cBhvr>
                                    </p:animEffect>
                                  </p:childTnLst>
                                </p:cTn>
                              </p:par>
                              <p:par>
                                <p:cTn id="13" presetID="63" presetClass="path" presetSubtype="0" decel="100000" fill="hold" grpId="1" nodeType="withEffect">
                                  <p:stCondLst>
                                    <p:cond delay="0"/>
                                  </p:stCondLst>
                                  <p:childTnLst>
                                    <p:animMotion origin="layout" path="M -0.02617 2.22222E-6 L -2.91667E-6 2.22222E-6 " pathEditMode="relative" rAng="0" ptsTypes="AA">
                                      <p:cBhvr>
                                        <p:cTn id="14" dur="500" fill="hold"/>
                                        <p:tgtEl>
                                          <p:spTgt spid="48"/>
                                        </p:tgtEl>
                                        <p:attrNameLst>
                                          <p:attrName>ppt_x</p:attrName>
                                          <p:attrName>ppt_y</p:attrName>
                                        </p:attrNameLst>
                                      </p:cBhvr>
                                      <p:rCtr x="1302" y="0"/>
                                    </p:animMotion>
                                  </p:childTnLst>
                                </p:cTn>
                              </p:par>
                              <p:par>
                                <p:cTn id="15" presetID="10" presetClass="entr" presetSubtype="0" fill="hold" grpId="0" nodeType="withEffect" nodePh="1">
                                  <p:stCondLst>
                                    <p:cond delay="0"/>
                                  </p:stCondLst>
                                  <p:endCondLst>
                                    <p:cond evt="begin" delay="0">
                                      <p:tn val="15"/>
                                    </p:cond>
                                  </p:endCondLst>
                                  <p:childTnLst>
                                    <p:set>
                                      <p:cBhvr>
                                        <p:cTn id="16" dur="1" fill="hold">
                                          <p:stCondLst>
                                            <p:cond delay="0"/>
                                          </p:stCondLst>
                                        </p:cTn>
                                        <p:tgtEl>
                                          <p:spTgt spid="73"/>
                                        </p:tgtEl>
                                        <p:attrNameLst>
                                          <p:attrName>style.visibility</p:attrName>
                                        </p:attrNameLst>
                                      </p:cBhvr>
                                      <p:to>
                                        <p:strVal val="visible"/>
                                      </p:to>
                                    </p:set>
                                    <p:animEffect transition="in" filter="fade">
                                      <p:cBhvr>
                                        <p:cTn id="17" dur="500"/>
                                        <p:tgtEl>
                                          <p:spTgt spid="73"/>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87"/>
                                        </p:tgtEl>
                                        <p:attrNameLst>
                                          <p:attrName>style.visibility</p:attrName>
                                        </p:attrNameLst>
                                      </p:cBhvr>
                                      <p:to>
                                        <p:strVal val="visible"/>
                                      </p:to>
                                    </p:set>
                                    <p:anim calcmode="lin" valueType="num">
                                      <p:cBhvr>
                                        <p:cTn id="20" dur="500" fill="hold"/>
                                        <p:tgtEl>
                                          <p:spTgt spid="87"/>
                                        </p:tgtEl>
                                        <p:attrNameLst>
                                          <p:attrName>ppt_w</p:attrName>
                                        </p:attrNameLst>
                                      </p:cBhvr>
                                      <p:tavLst>
                                        <p:tav tm="0">
                                          <p:val>
                                            <p:fltVal val="0"/>
                                          </p:val>
                                        </p:tav>
                                        <p:tav tm="100000">
                                          <p:val>
                                            <p:strVal val="#ppt_w"/>
                                          </p:val>
                                        </p:tav>
                                      </p:tavLst>
                                    </p:anim>
                                    <p:anim calcmode="lin" valueType="num">
                                      <p:cBhvr>
                                        <p:cTn id="21" dur="500" fill="hold"/>
                                        <p:tgtEl>
                                          <p:spTgt spid="87"/>
                                        </p:tgtEl>
                                        <p:attrNameLst>
                                          <p:attrName>ppt_h</p:attrName>
                                        </p:attrNameLst>
                                      </p:cBhvr>
                                      <p:tavLst>
                                        <p:tav tm="0">
                                          <p:val>
                                            <p:fltVal val="0"/>
                                          </p:val>
                                        </p:tav>
                                        <p:tav tm="100000">
                                          <p:val>
                                            <p:strVal val="#ppt_h"/>
                                          </p:val>
                                        </p:tav>
                                      </p:tavLst>
                                    </p:anim>
                                    <p:animEffect transition="in" filter="fade">
                                      <p:cBhvr>
                                        <p:cTn id="22" dur="500"/>
                                        <p:tgtEl>
                                          <p:spTgt spid="87"/>
                                        </p:tgtEl>
                                      </p:cBhvr>
                                    </p:animEffect>
                                  </p:childTnLst>
                                </p:cTn>
                              </p:par>
                              <p:par>
                                <p:cTn id="23" presetID="53" presetClass="entr" presetSubtype="16"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p:cTn id="25" dur="500" fill="hold"/>
                                        <p:tgtEl>
                                          <p:spTgt spid="14"/>
                                        </p:tgtEl>
                                        <p:attrNameLst>
                                          <p:attrName>ppt_w</p:attrName>
                                        </p:attrNameLst>
                                      </p:cBhvr>
                                      <p:tavLst>
                                        <p:tav tm="0">
                                          <p:val>
                                            <p:fltVal val="0"/>
                                          </p:val>
                                        </p:tav>
                                        <p:tav tm="100000">
                                          <p:val>
                                            <p:strVal val="#ppt_w"/>
                                          </p:val>
                                        </p:tav>
                                      </p:tavLst>
                                    </p:anim>
                                    <p:anim calcmode="lin" valueType="num">
                                      <p:cBhvr>
                                        <p:cTn id="26" dur="500" fill="hold"/>
                                        <p:tgtEl>
                                          <p:spTgt spid="14"/>
                                        </p:tgtEl>
                                        <p:attrNameLst>
                                          <p:attrName>ppt_h</p:attrName>
                                        </p:attrNameLst>
                                      </p:cBhvr>
                                      <p:tavLst>
                                        <p:tav tm="0">
                                          <p:val>
                                            <p:fltVal val="0"/>
                                          </p:val>
                                        </p:tav>
                                        <p:tav tm="100000">
                                          <p:val>
                                            <p:strVal val="#ppt_h"/>
                                          </p:val>
                                        </p:tav>
                                      </p:tavLst>
                                    </p:anim>
                                    <p:animEffect transition="in" filter="fade">
                                      <p:cBhvr>
                                        <p:cTn id="27" dur="500"/>
                                        <p:tgtEl>
                                          <p:spTgt spid="14"/>
                                        </p:tgtEl>
                                      </p:cBhvr>
                                    </p:animEffect>
                                  </p:childTnLst>
                                </p:cTn>
                              </p:par>
                              <p:par>
                                <p:cTn id="28" presetID="53" presetClass="entr" presetSubtype="16" fill="hold" grpId="0" nodeType="withEffect">
                                  <p:stCondLst>
                                    <p:cond delay="0"/>
                                  </p:stCondLst>
                                  <p:childTnLst>
                                    <p:set>
                                      <p:cBhvr>
                                        <p:cTn id="29" dur="1" fill="hold">
                                          <p:stCondLst>
                                            <p:cond delay="0"/>
                                          </p:stCondLst>
                                        </p:cTn>
                                        <p:tgtEl>
                                          <p:spTgt spid="77"/>
                                        </p:tgtEl>
                                        <p:attrNameLst>
                                          <p:attrName>style.visibility</p:attrName>
                                        </p:attrNameLst>
                                      </p:cBhvr>
                                      <p:to>
                                        <p:strVal val="visible"/>
                                      </p:to>
                                    </p:set>
                                    <p:anim calcmode="lin" valueType="num">
                                      <p:cBhvr>
                                        <p:cTn id="30" dur="500" fill="hold"/>
                                        <p:tgtEl>
                                          <p:spTgt spid="77"/>
                                        </p:tgtEl>
                                        <p:attrNameLst>
                                          <p:attrName>ppt_w</p:attrName>
                                        </p:attrNameLst>
                                      </p:cBhvr>
                                      <p:tavLst>
                                        <p:tav tm="0">
                                          <p:val>
                                            <p:fltVal val="0"/>
                                          </p:val>
                                        </p:tav>
                                        <p:tav tm="100000">
                                          <p:val>
                                            <p:strVal val="#ppt_w"/>
                                          </p:val>
                                        </p:tav>
                                      </p:tavLst>
                                    </p:anim>
                                    <p:anim calcmode="lin" valueType="num">
                                      <p:cBhvr>
                                        <p:cTn id="31" dur="500" fill="hold"/>
                                        <p:tgtEl>
                                          <p:spTgt spid="77"/>
                                        </p:tgtEl>
                                        <p:attrNameLst>
                                          <p:attrName>ppt_h</p:attrName>
                                        </p:attrNameLst>
                                      </p:cBhvr>
                                      <p:tavLst>
                                        <p:tav tm="0">
                                          <p:val>
                                            <p:fltVal val="0"/>
                                          </p:val>
                                        </p:tav>
                                        <p:tav tm="100000">
                                          <p:val>
                                            <p:strVal val="#ppt_h"/>
                                          </p:val>
                                        </p:tav>
                                      </p:tavLst>
                                    </p:anim>
                                    <p:animEffect transition="in" filter="fade">
                                      <p:cBhvr>
                                        <p:cTn id="32" dur="500"/>
                                        <p:tgtEl>
                                          <p:spTgt spid="77"/>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61"/>
                                        </p:tgtEl>
                                        <p:attrNameLst>
                                          <p:attrName>style.visibility</p:attrName>
                                        </p:attrNameLst>
                                      </p:cBhvr>
                                      <p:to>
                                        <p:strVal val="visible"/>
                                      </p:to>
                                    </p:set>
                                    <p:anim calcmode="lin" valueType="num">
                                      <p:cBhvr>
                                        <p:cTn id="35" dur="500" fill="hold"/>
                                        <p:tgtEl>
                                          <p:spTgt spid="61"/>
                                        </p:tgtEl>
                                        <p:attrNameLst>
                                          <p:attrName>ppt_w</p:attrName>
                                        </p:attrNameLst>
                                      </p:cBhvr>
                                      <p:tavLst>
                                        <p:tav tm="0">
                                          <p:val>
                                            <p:fltVal val="0"/>
                                          </p:val>
                                        </p:tav>
                                        <p:tav tm="100000">
                                          <p:val>
                                            <p:strVal val="#ppt_w"/>
                                          </p:val>
                                        </p:tav>
                                      </p:tavLst>
                                    </p:anim>
                                    <p:anim calcmode="lin" valueType="num">
                                      <p:cBhvr>
                                        <p:cTn id="36" dur="500" fill="hold"/>
                                        <p:tgtEl>
                                          <p:spTgt spid="61"/>
                                        </p:tgtEl>
                                        <p:attrNameLst>
                                          <p:attrName>ppt_h</p:attrName>
                                        </p:attrNameLst>
                                      </p:cBhvr>
                                      <p:tavLst>
                                        <p:tav tm="0">
                                          <p:val>
                                            <p:fltVal val="0"/>
                                          </p:val>
                                        </p:tav>
                                        <p:tav tm="100000">
                                          <p:val>
                                            <p:strVal val="#ppt_h"/>
                                          </p:val>
                                        </p:tav>
                                      </p:tavLst>
                                    </p:anim>
                                    <p:animEffect transition="in" filter="fade">
                                      <p:cBhvr>
                                        <p:cTn id="37" dur="500"/>
                                        <p:tgtEl>
                                          <p:spTgt spid="61"/>
                                        </p:tgtEl>
                                      </p:cBhvr>
                                    </p:animEffect>
                                  </p:childTnLst>
                                </p:cTn>
                              </p:par>
                              <p:par>
                                <p:cTn id="38" presetID="53" presetClass="entr" presetSubtype="16" fill="hold" nodeType="withEffect">
                                  <p:stCondLst>
                                    <p:cond delay="0"/>
                                  </p:stCondLst>
                                  <p:childTnLst>
                                    <p:set>
                                      <p:cBhvr>
                                        <p:cTn id="39" dur="1" fill="hold">
                                          <p:stCondLst>
                                            <p:cond delay="0"/>
                                          </p:stCondLst>
                                        </p:cTn>
                                        <p:tgtEl>
                                          <p:spTgt spid="74"/>
                                        </p:tgtEl>
                                        <p:attrNameLst>
                                          <p:attrName>style.visibility</p:attrName>
                                        </p:attrNameLst>
                                      </p:cBhvr>
                                      <p:to>
                                        <p:strVal val="visible"/>
                                      </p:to>
                                    </p:set>
                                    <p:anim calcmode="lin" valueType="num">
                                      <p:cBhvr>
                                        <p:cTn id="40" dur="500" fill="hold"/>
                                        <p:tgtEl>
                                          <p:spTgt spid="74"/>
                                        </p:tgtEl>
                                        <p:attrNameLst>
                                          <p:attrName>ppt_w</p:attrName>
                                        </p:attrNameLst>
                                      </p:cBhvr>
                                      <p:tavLst>
                                        <p:tav tm="0">
                                          <p:val>
                                            <p:fltVal val="0"/>
                                          </p:val>
                                        </p:tav>
                                        <p:tav tm="100000">
                                          <p:val>
                                            <p:strVal val="#ppt_w"/>
                                          </p:val>
                                        </p:tav>
                                      </p:tavLst>
                                    </p:anim>
                                    <p:anim calcmode="lin" valueType="num">
                                      <p:cBhvr>
                                        <p:cTn id="41" dur="500" fill="hold"/>
                                        <p:tgtEl>
                                          <p:spTgt spid="74"/>
                                        </p:tgtEl>
                                        <p:attrNameLst>
                                          <p:attrName>ppt_h</p:attrName>
                                        </p:attrNameLst>
                                      </p:cBhvr>
                                      <p:tavLst>
                                        <p:tav tm="0">
                                          <p:val>
                                            <p:fltVal val="0"/>
                                          </p:val>
                                        </p:tav>
                                        <p:tav tm="100000">
                                          <p:val>
                                            <p:strVal val="#ppt_h"/>
                                          </p:val>
                                        </p:tav>
                                      </p:tavLst>
                                    </p:anim>
                                    <p:animEffect transition="in" filter="fade">
                                      <p:cBhvr>
                                        <p:cTn id="42" dur="500"/>
                                        <p:tgtEl>
                                          <p:spTgt spid="74"/>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64"/>
                                        </p:tgtEl>
                                        <p:attrNameLst>
                                          <p:attrName>style.visibility</p:attrName>
                                        </p:attrNameLst>
                                      </p:cBhvr>
                                      <p:to>
                                        <p:strVal val="visible"/>
                                      </p:to>
                                    </p:set>
                                    <p:animEffect transition="in" filter="fade">
                                      <p:cBhvr>
                                        <p:cTn id="46" dur="500"/>
                                        <p:tgtEl>
                                          <p:spTgt spid="6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7"/>
                                        </p:tgtEl>
                                        <p:attrNameLst>
                                          <p:attrName>style.visibility</p:attrName>
                                        </p:attrNameLst>
                                      </p:cBhvr>
                                      <p:to>
                                        <p:strVal val="visible"/>
                                      </p:to>
                                    </p:set>
                                    <p:animEffect transition="in" filter="fade">
                                      <p:cBhvr>
                                        <p:cTn id="49" dur="500"/>
                                        <p:tgtEl>
                                          <p:spTgt spid="3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4"/>
                                        </p:tgtEl>
                                        <p:attrNameLst>
                                          <p:attrName>style.visibility</p:attrName>
                                        </p:attrNameLst>
                                      </p:cBhvr>
                                      <p:to>
                                        <p:strVal val="visible"/>
                                      </p:to>
                                    </p:set>
                                    <p:animEffect transition="in" filter="fade">
                                      <p:cBhvr>
                                        <p:cTn id="52" dur="500"/>
                                        <p:tgtEl>
                                          <p:spTgt spid="4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62"/>
                                        </p:tgtEl>
                                        <p:attrNameLst>
                                          <p:attrName>style.visibility</p:attrName>
                                        </p:attrNameLst>
                                      </p:cBhvr>
                                      <p:to>
                                        <p:strVal val="visible"/>
                                      </p:to>
                                    </p:set>
                                    <p:animEffect transition="in" filter="fade">
                                      <p:cBhvr>
                                        <p:cTn id="55" dur="500"/>
                                        <p:tgtEl>
                                          <p:spTgt spid="6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fade">
                                      <p:cBhvr>
                                        <p:cTn id="58" dur="500"/>
                                        <p:tgtEl>
                                          <p:spTgt spid="36"/>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65"/>
                                        </p:tgtEl>
                                        <p:attrNameLst>
                                          <p:attrName>style.visibility</p:attrName>
                                        </p:attrNameLst>
                                      </p:cBhvr>
                                      <p:to>
                                        <p:strVal val="visible"/>
                                      </p:to>
                                    </p:set>
                                    <p:animEffect transition="in" filter="fade">
                                      <p:cBhvr>
                                        <p:cTn id="61" dur="500"/>
                                        <p:tgtEl>
                                          <p:spTgt spid="65"/>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fade">
                                      <p:cBhvr>
                                        <p:cTn id="64" dur="500"/>
                                        <p:tgtEl>
                                          <p:spTgt spid="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500"/>
                                        <p:tgtEl>
                                          <p:spTgt spid="43"/>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3"/>
                                        </p:tgtEl>
                                        <p:attrNameLst>
                                          <p:attrName>style.visibility</p:attrName>
                                        </p:attrNameLst>
                                      </p:cBhvr>
                                      <p:to>
                                        <p:strVal val="visible"/>
                                      </p:to>
                                    </p:set>
                                    <p:animEffect transition="in" filter="fade">
                                      <p:cBhvr>
                                        <p:cTn id="70" dur="500"/>
                                        <p:tgtEl>
                                          <p:spTgt spid="6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72"/>
                                        </p:tgtEl>
                                        <p:attrNameLst>
                                          <p:attrName>style.visibility</p:attrName>
                                        </p:attrNameLst>
                                      </p:cBhvr>
                                      <p:to>
                                        <p:strVal val="visible"/>
                                      </p:to>
                                    </p:set>
                                    <p:animEffect transition="in" filter="fade">
                                      <p:cBhvr>
                                        <p:cTn id="73" dur="500"/>
                                        <p:tgtEl>
                                          <p:spTgt spid="72"/>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5"/>
                                        </p:tgtEl>
                                        <p:attrNameLst>
                                          <p:attrName>style.visibility</p:attrName>
                                        </p:attrNameLst>
                                      </p:cBhvr>
                                      <p:to>
                                        <p:strVal val="visible"/>
                                      </p:to>
                                    </p:set>
                                    <p:animEffect transition="in" filter="fade">
                                      <p:cBhvr>
                                        <p:cTn id="77" dur="500"/>
                                        <p:tgtEl>
                                          <p:spTgt spid="5"/>
                                        </p:tgtEl>
                                      </p:cBhvr>
                                    </p:animEffect>
                                  </p:childTnLst>
                                </p:cTn>
                              </p:par>
                              <p:par>
                                <p:cTn id="78" presetID="64" presetClass="path" presetSubtype="0" decel="100000" fill="hold" grpId="1" nodeType="withEffect">
                                  <p:stCondLst>
                                    <p:cond delay="0"/>
                                  </p:stCondLst>
                                  <p:childTnLst>
                                    <p:animMotion origin="layout" path="M 0 0.02801 L 0 2.22222E-6 " pathEditMode="relative" rAng="0" ptsTypes="AA">
                                      <p:cBhvr>
                                        <p:cTn id="79" dur="500" fill="hold"/>
                                        <p:tgtEl>
                                          <p:spTgt spid="5"/>
                                        </p:tgtEl>
                                        <p:attrNameLst>
                                          <p:attrName>ppt_x</p:attrName>
                                          <p:attrName>ppt_y</p:attrName>
                                        </p:attrNameLst>
                                      </p:cBhvr>
                                      <p:rCtr x="0" y="-166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8" grpId="1" animBg="1"/>
      <p:bldP spid="62" grpId="0"/>
      <p:bldP spid="63" grpId="0"/>
      <p:bldP spid="64" grpId="0"/>
      <p:bldP spid="65" grpId="0"/>
      <p:bldP spid="72" grpId="0"/>
      <p:bldP spid="73" grpId="0"/>
      <p:bldP spid="43" grpId="0"/>
      <p:bldP spid="44" grpId="0"/>
      <p:bldP spid="61" grpId="0" animBg="1"/>
      <p:bldP spid="77" grpId="0" animBg="1"/>
      <p:bldP spid="87" grpId="0" animBg="1"/>
      <p:bldP spid="36" grpId="0"/>
      <p:bldP spid="37" grpId="0"/>
      <p:bldP spid="3" grpId="0"/>
      <p:bldP spid="5" grpId="0" animBg="1"/>
      <p:bldP spid="5"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1A34AB-97FC-4FB1-B0F7-7A0D20D72DF3}"/>
              </a:ext>
            </a:extLst>
          </p:cNvPr>
          <p:cNvPicPr>
            <a:picLocks noChangeAspect="1"/>
          </p:cNvPicPr>
          <p:nvPr/>
        </p:nvPicPr>
        <p:blipFill>
          <a:blip r:embed="rId2"/>
          <a:stretch>
            <a:fillRect/>
          </a:stretch>
        </p:blipFill>
        <p:spPr>
          <a:xfrm>
            <a:off x="4718" y="145232"/>
            <a:ext cx="12182564" cy="6567536"/>
          </a:xfrm>
          <a:prstGeom prst="rect">
            <a:avLst/>
          </a:prstGeom>
        </p:spPr>
      </p:pic>
    </p:spTree>
    <p:extLst>
      <p:ext uri="{BB962C8B-B14F-4D97-AF65-F5344CB8AC3E}">
        <p14:creationId xmlns:p14="http://schemas.microsoft.com/office/powerpoint/2010/main" val="262411710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70C5B2-AE94-49E8-8F3E-93CB8642CBEF}"/>
              </a:ext>
            </a:extLst>
          </p:cNvPr>
          <p:cNvPicPr>
            <a:picLocks noChangeAspect="1"/>
          </p:cNvPicPr>
          <p:nvPr/>
        </p:nvPicPr>
        <p:blipFill>
          <a:blip r:embed="rId2"/>
          <a:stretch>
            <a:fillRect/>
          </a:stretch>
        </p:blipFill>
        <p:spPr>
          <a:xfrm>
            <a:off x="0" y="140493"/>
            <a:ext cx="12192000" cy="6577013"/>
          </a:xfrm>
          <a:prstGeom prst="rect">
            <a:avLst/>
          </a:prstGeom>
        </p:spPr>
      </p:pic>
    </p:spTree>
    <p:extLst>
      <p:ext uri="{BB962C8B-B14F-4D97-AF65-F5344CB8AC3E}">
        <p14:creationId xmlns:p14="http://schemas.microsoft.com/office/powerpoint/2010/main" val="369155019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1" y="3341339"/>
            <a:ext cx="12191377" cy="35156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866" y="972"/>
            <a:ext cx="12190271" cy="3321463"/>
          </a:xfrm>
          <a:prstGeom prst="rect">
            <a:avLst/>
          </a:prstGeom>
        </p:spPr>
      </p:pic>
      <p:sp>
        <p:nvSpPr>
          <p:cNvPr id="34" name="Rectangle 33"/>
          <p:cNvSpPr/>
          <p:nvPr/>
        </p:nvSpPr>
        <p:spPr bwMode="auto">
          <a:xfrm>
            <a:off x="1" y="487"/>
            <a:ext cx="12208193" cy="3321948"/>
          </a:xfrm>
          <a:prstGeom prst="rect">
            <a:avLst/>
          </a:prstGeom>
          <a:gradFill>
            <a:gsLst>
              <a:gs pos="13000">
                <a:schemeClr val="tx1">
                  <a:lumMod val="50000"/>
                  <a:alpha val="0"/>
                </a:schemeClr>
              </a:gs>
              <a:gs pos="83000">
                <a:schemeClr val="tx1">
                  <a:lumMod val="50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err="1">
              <a:gradFill>
                <a:gsLst>
                  <a:gs pos="0">
                    <a:srgbClr val="FFFFFF"/>
                  </a:gs>
                  <a:gs pos="100000">
                    <a:srgbClr val="FFFFFF"/>
                  </a:gs>
                </a:gsLst>
                <a:lin ang="5400000" scaled="0"/>
              </a:gradFill>
              <a:latin typeface="Segoe UI Semilight"/>
              <a:cs typeface="Segoe UI" pitchFamily="34" charset="0"/>
            </a:endParaRPr>
          </a:p>
        </p:txBody>
      </p:sp>
      <p:cxnSp>
        <p:nvCxnSpPr>
          <p:cNvPr id="13" name="Straight Connector 12"/>
          <p:cNvCxnSpPr/>
          <p:nvPr/>
        </p:nvCxnSpPr>
        <p:spPr>
          <a:xfrm>
            <a:off x="1" y="3313059"/>
            <a:ext cx="12191377"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BF17D20-2F5A-4851-B595-1D4BBC639D7C}"/>
              </a:ext>
            </a:extLst>
          </p:cNvPr>
          <p:cNvSpPr txBox="1"/>
          <p:nvPr/>
        </p:nvSpPr>
        <p:spPr>
          <a:xfrm>
            <a:off x="9896997" y="3982337"/>
            <a:ext cx="1919968" cy="1779173"/>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Labs</a:t>
            </a:r>
            <a:endParaRPr kumimoji="0" lang="en-US" sz="2000" b="1" i="0" u="none" strike="noStrike" kern="1200" cap="none" spc="0" normalizeH="0" baseline="0" noProof="0">
              <a:ln>
                <a:noFill/>
              </a:ln>
              <a:gradFill>
                <a:gsLst>
                  <a:gs pos="11628">
                    <a:schemeClr val="tx1"/>
                  </a:gs>
                  <a:gs pos="54000">
                    <a:schemeClr val="tx1"/>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An early look at emerging Cognitive Services technologies: discover, try, and give feedback on new technologies before general availability</a:t>
            </a:r>
          </a:p>
        </p:txBody>
      </p:sp>
      <p:sp>
        <p:nvSpPr>
          <p:cNvPr id="20" name="TextBox 19">
            <a:extLst>
              <a:ext uri="{FF2B5EF4-FFF2-40B4-BE49-F238E27FC236}">
                <a16:creationId xmlns:a16="http://schemas.microsoft.com/office/drawing/2014/main" id="{26531891-CD1C-4FB8-AC91-34670C52B4AF}"/>
              </a:ext>
            </a:extLst>
          </p:cNvPr>
          <p:cNvSpPr txBox="1"/>
          <p:nvPr/>
        </p:nvSpPr>
        <p:spPr>
          <a:xfrm>
            <a:off x="6121635" y="3982337"/>
            <a:ext cx="1919968" cy="1280575"/>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dirty="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Knowledge</a:t>
            </a:r>
          </a:p>
          <a:p>
            <a:pPr algn="ctr" defTabSz="914139">
              <a:lnSpc>
                <a:spcPct val="90000"/>
              </a:lnSpc>
              <a:spcAft>
                <a:spcPts val="575"/>
              </a:spcAft>
              <a:defRPr/>
            </a:pPr>
            <a:r>
              <a:rPr kumimoji="0" lang="en-US" sz="1200" b="0" i="0" u="none" strike="noStrike" kern="1200" cap="none" spc="0" normalizeH="0" baseline="0" noProof="0" dirty="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Map complex information and data in order to solve specific tasks</a:t>
            </a:r>
            <a:r>
              <a:rPr lang="en-US" sz="1200" dirty="0">
                <a:gradFill>
                  <a:gsLst>
                    <a:gs pos="11628">
                      <a:schemeClr val="tx1"/>
                    </a:gs>
                    <a:gs pos="54000">
                      <a:schemeClr val="tx1"/>
                    </a:gs>
                  </a:gsLst>
                  <a:lin ang="5400000" scaled="0"/>
                </a:gradFill>
                <a:latin typeface="Segoe UI" panose="020B0502040204020203" pitchFamily="34" charset="0"/>
                <a:cs typeface="Segoe UI" panose="020B0502040204020203" pitchFamily="34" charset="0"/>
              </a:rPr>
              <a:t> </a:t>
            </a:r>
            <a:endParaRPr kumimoji="0" lang="en-US" sz="1200" b="0" i="0" u="none" strike="noStrike" kern="1200" cap="none" spc="0" normalizeH="0" baseline="0" noProof="0" dirty="0">
              <a:ln>
                <a:noFill/>
              </a:ln>
              <a:gradFill>
                <a:gsLst>
                  <a:gs pos="11628">
                    <a:schemeClr val="tx1"/>
                  </a:gs>
                  <a:gs pos="54000">
                    <a:schemeClr val="tx1"/>
                  </a:gs>
                </a:gsLst>
                <a:lin ang="5400000" scaled="0"/>
              </a:gradFill>
              <a:effectLst/>
              <a:uLnTx/>
              <a:uFillTx/>
              <a:latin typeface="Segoe UI" panose="020B0502040204020203" pitchFamily="34" charset="0"/>
              <a:cs typeface="Segoe UI" panose="020B0502040204020203" pitchFamily="34" charset="0"/>
            </a:endParaRPr>
          </a:p>
        </p:txBody>
      </p:sp>
      <p:pic>
        <p:nvPicPr>
          <p:cNvPr id="3" name="Picture 2">
            <a:extLst>
              <a:ext uri="{FF2B5EF4-FFF2-40B4-BE49-F238E27FC236}">
                <a16:creationId xmlns:a16="http://schemas.microsoft.com/office/drawing/2014/main" id="{263E4749-D0CB-462D-8C1B-676EAFAC13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12297" y="2870431"/>
            <a:ext cx="1138644" cy="1142839"/>
          </a:xfrm>
          <a:prstGeom prst="ellipse">
            <a:avLst/>
          </a:prstGeom>
        </p:spPr>
      </p:pic>
      <p:sp>
        <p:nvSpPr>
          <p:cNvPr id="21" name="TextBox 20">
            <a:extLst>
              <a:ext uri="{FF2B5EF4-FFF2-40B4-BE49-F238E27FC236}">
                <a16:creationId xmlns:a16="http://schemas.microsoft.com/office/drawing/2014/main" id="{D774DB6C-D485-4533-A9F9-B16C2241F6EF}"/>
              </a:ext>
            </a:extLst>
          </p:cNvPr>
          <p:cNvSpPr txBox="1"/>
          <p:nvPr/>
        </p:nvSpPr>
        <p:spPr>
          <a:xfrm>
            <a:off x="4233953" y="3982337"/>
            <a:ext cx="1919968" cy="1114375"/>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Language</a:t>
            </a:r>
          </a:p>
          <a:p>
            <a:pPr marL="0" marR="0" lvl="0" indent="0" algn="ctr" defTabSz="914139" rtl="0" eaLnBrk="1" fontAlgn="auto" latinLnBrk="0" hangingPunct="1">
              <a:lnSpc>
                <a:spcPct val="90000"/>
              </a:lnSpc>
              <a:spcBef>
                <a:spcPts val="0"/>
              </a:spcBef>
              <a:spcAft>
                <a:spcPts val="575"/>
              </a:spcAft>
              <a:buClrTx/>
              <a:buSzTx/>
              <a:buFontTx/>
              <a:buNone/>
              <a:tabLst/>
              <a:defRPr/>
            </a:pPr>
            <a:r>
              <a:rPr kumimoji="0" lang="en-US" sz="1200" b="0"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Process text and </a:t>
            </a:r>
            <a:br>
              <a:rPr kumimoji="0" lang="en-US" sz="1200" b="0"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learn how to recognize what users want</a:t>
            </a:r>
          </a:p>
        </p:txBody>
      </p:sp>
      <p:pic>
        <p:nvPicPr>
          <p:cNvPr id="6" name="Picture 5">
            <a:extLst>
              <a:ext uri="{FF2B5EF4-FFF2-40B4-BE49-F238E27FC236}">
                <a16:creationId xmlns:a16="http://schemas.microsoft.com/office/drawing/2014/main" id="{0AE969B4-DCE3-49D1-A283-CE851767DA4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4615" y="2870429"/>
            <a:ext cx="1138644" cy="1142838"/>
          </a:xfrm>
          <a:prstGeom prst="ellipse">
            <a:avLst/>
          </a:prstGeom>
        </p:spPr>
      </p:pic>
      <p:sp>
        <p:nvSpPr>
          <p:cNvPr id="28" name="TextBox 27">
            <a:extLst>
              <a:ext uri="{FF2B5EF4-FFF2-40B4-BE49-F238E27FC236}">
                <a16:creationId xmlns:a16="http://schemas.microsoft.com/office/drawing/2014/main" id="{69BFCF29-AE15-44DB-8239-E086782C646E}"/>
              </a:ext>
            </a:extLst>
          </p:cNvPr>
          <p:cNvSpPr txBox="1"/>
          <p:nvPr/>
        </p:nvSpPr>
        <p:spPr>
          <a:xfrm>
            <a:off x="8009317" y="3982337"/>
            <a:ext cx="1919968" cy="1280575"/>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Search</a:t>
            </a:r>
          </a:p>
          <a:p>
            <a:pPr marL="0" marR="0" lvl="0" indent="0" algn="ctr" defTabSz="914139" rtl="0" eaLnBrk="1" fontAlgn="auto" latinLnBrk="0" hangingPunct="1">
              <a:lnSpc>
                <a:spcPct val="90000"/>
              </a:lnSpc>
              <a:spcBef>
                <a:spcPts val="0"/>
              </a:spcBef>
              <a:spcAft>
                <a:spcPts val="575"/>
              </a:spcAft>
              <a:buClrTx/>
              <a:buSzTx/>
              <a:buFontTx/>
              <a:buNone/>
              <a:tabLst/>
              <a:defRPr/>
            </a:pPr>
            <a:r>
              <a:rPr kumimoji="0" lang="en-US" sz="1200" b="0"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Access billions of web pages, images, videos, and news with the power of Bing</a:t>
            </a:r>
          </a:p>
        </p:txBody>
      </p:sp>
      <p:pic>
        <p:nvPicPr>
          <p:cNvPr id="12" name="Picture 11">
            <a:extLst>
              <a:ext uri="{FF2B5EF4-FFF2-40B4-BE49-F238E27FC236}">
                <a16:creationId xmlns:a16="http://schemas.microsoft.com/office/drawing/2014/main" id="{EA1F6ADD-863C-4CC8-82F7-5FDED46E706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99979" y="2870430"/>
            <a:ext cx="1138644" cy="1142838"/>
          </a:xfrm>
          <a:prstGeom prst="ellipse">
            <a:avLst/>
          </a:prstGeom>
        </p:spPr>
      </p:pic>
      <p:sp>
        <p:nvSpPr>
          <p:cNvPr id="18" name="TextBox 17">
            <a:extLst>
              <a:ext uri="{FF2B5EF4-FFF2-40B4-BE49-F238E27FC236}">
                <a16:creationId xmlns:a16="http://schemas.microsoft.com/office/drawing/2014/main" id="{F39D354F-DFE1-4D1A-A9BB-EFAB8A8C2EAD}"/>
              </a:ext>
            </a:extLst>
          </p:cNvPr>
          <p:cNvSpPr txBox="1"/>
          <p:nvPr/>
        </p:nvSpPr>
        <p:spPr>
          <a:xfrm>
            <a:off x="270067" y="3982337"/>
            <a:ext cx="1919968" cy="1280575"/>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dirty="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Vision</a:t>
            </a:r>
          </a:p>
          <a:p>
            <a:pPr marL="0" marR="0" lvl="0" indent="0" algn="ctr" defTabSz="914139" rtl="0" eaLnBrk="1" fontAlgn="auto" latinLnBrk="0" hangingPunct="1">
              <a:lnSpc>
                <a:spcPct val="90000"/>
              </a:lnSpc>
              <a:spcBef>
                <a:spcPts val="0"/>
              </a:spcBef>
              <a:spcAft>
                <a:spcPts val="575"/>
              </a:spcAft>
              <a:buClrTx/>
              <a:buSzTx/>
              <a:buFontTx/>
              <a:buNone/>
              <a:tabLst/>
              <a:defRPr/>
            </a:pPr>
            <a:r>
              <a:rPr kumimoji="0" lang="en-US" sz="1200" b="0" i="0" u="none" strike="noStrike" kern="1200" cap="none" spc="0" normalizeH="0" baseline="0" noProof="0" dirty="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From faces to feelings, allow your apps to understand images and video</a:t>
            </a:r>
          </a:p>
        </p:txBody>
      </p:sp>
      <p:pic>
        <p:nvPicPr>
          <p:cNvPr id="15" name="Picture 14">
            <a:extLst>
              <a:ext uri="{FF2B5EF4-FFF2-40B4-BE49-F238E27FC236}">
                <a16:creationId xmlns:a16="http://schemas.microsoft.com/office/drawing/2014/main" id="{504BBEA5-3BE7-4A1C-A248-A2437260A70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0728" y="2870429"/>
            <a:ext cx="1138644" cy="1142838"/>
          </a:xfrm>
          <a:prstGeom prst="ellipse">
            <a:avLst/>
          </a:prstGeom>
        </p:spPr>
      </p:pic>
      <p:sp>
        <p:nvSpPr>
          <p:cNvPr id="19" name="TextBox 18">
            <a:extLst>
              <a:ext uri="{FF2B5EF4-FFF2-40B4-BE49-F238E27FC236}">
                <a16:creationId xmlns:a16="http://schemas.microsoft.com/office/drawing/2014/main" id="{6B5CE148-D382-4CBD-8C97-2A282769FD9D}"/>
              </a:ext>
            </a:extLst>
          </p:cNvPr>
          <p:cNvSpPr txBox="1"/>
          <p:nvPr/>
        </p:nvSpPr>
        <p:spPr>
          <a:xfrm>
            <a:off x="2157749" y="3982336"/>
            <a:ext cx="2108490" cy="1280575"/>
          </a:xfrm>
          <a:prstGeom prst="rect">
            <a:avLst/>
          </a:prstGeom>
          <a:noFill/>
        </p:spPr>
        <p:txBody>
          <a:bodyPr wrap="square" lIns="179208" tIns="143367" rIns="89630"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Speech</a:t>
            </a:r>
          </a:p>
          <a:p>
            <a:pPr marL="0" marR="0" lvl="0" indent="0" algn="ctr" defTabSz="914139" rtl="0" eaLnBrk="1" fontAlgn="auto" latinLnBrk="0" hangingPunct="1">
              <a:lnSpc>
                <a:spcPct val="90000"/>
              </a:lnSpc>
              <a:spcBef>
                <a:spcPts val="0"/>
              </a:spcBef>
              <a:spcAft>
                <a:spcPts val="575"/>
              </a:spcAft>
              <a:buClrTx/>
              <a:buSzTx/>
              <a:buFontTx/>
              <a:buNone/>
              <a:tabLst/>
              <a:defRPr/>
            </a:pPr>
            <a:r>
              <a:rPr kumimoji="0" lang="en-US" sz="1200" b="0"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Hear and speak to your users by filtering noise, identifying speakers, </a:t>
            </a:r>
            <a:br>
              <a:rPr kumimoji="0" lang="en-US" sz="1200" b="0"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and understanding intent</a:t>
            </a:r>
          </a:p>
        </p:txBody>
      </p:sp>
      <p:pic>
        <p:nvPicPr>
          <p:cNvPr id="17" name="Picture 16">
            <a:extLst>
              <a:ext uri="{FF2B5EF4-FFF2-40B4-BE49-F238E27FC236}">
                <a16:creationId xmlns:a16="http://schemas.microsoft.com/office/drawing/2014/main" id="{341DD27C-FFAF-448F-9AD1-E3F708A995D5}"/>
              </a:ext>
            </a:extLst>
          </p:cNvPr>
          <p:cNvPicPr>
            <a:picLocks/>
          </p:cNvPicPr>
          <p:nvPr/>
        </p:nvPicPr>
        <p:blipFill>
          <a:blip r:embed="rId8">
            <a:extLst>
              <a:ext uri="{28A0092B-C50C-407E-A947-70E740481C1C}">
                <a14:useLocalDpi xmlns:a14="http://schemas.microsoft.com/office/drawing/2010/main" val="0"/>
              </a:ext>
            </a:extLst>
          </a:blip>
          <a:stretch>
            <a:fillRect/>
          </a:stretch>
        </p:blipFill>
        <p:spPr>
          <a:xfrm>
            <a:off x="2642764" y="2870429"/>
            <a:ext cx="1138460" cy="1142838"/>
          </a:xfrm>
          <a:prstGeom prst="ellipse">
            <a:avLst/>
          </a:prstGeom>
        </p:spPr>
      </p:pic>
      <p:grpSp>
        <p:nvGrpSpPr>
          <p:cNvPr id="10" name="Group 9">
            <a:extLst>
              <a:ext uri="{FF2B5EF4-FFF2-40B4-BE49-F238E27FC236}">
                <a16:creationId xmlns:a16="http://schemas.microsoft.com/office/drawing/2014/main" id="{F8A386A5-8712-4774-A469-BBABE6FAF283}"/>
              </a:ext>
            </a:extLst>
          </p:cNvPr>
          <p:cNvGrpSpPr/>
          <p:nvPr/>
        </p:nvGrpSpPr>
        <p:grpSpPr>
          <a:xfrm>
            <a:off x="10285562" y="2883873"/>
            <a:ext cx="1142838" cy="1142838"/>
            <a:chOff x="10495195" y="2941204"/>
            <a:chExt cx="1165754" cy="1165754"/>
          </a:xfrm>
        </p:grpSpPr>
        <p:sp>
          <p:nvSpPr>
            <p:cNvPr id="59" name="Oval 58">
              <a:extLst>
                <a:ext uri="{FF2B5EF4-FFF2-40B4-BE49-F238E27FC236}">
                  <a16:creationId xmlns:a16="http://schemas.microsoft.com/office/drawing/2014/main" id="{D1065815-C966-4508-BF15-1D5FB037C0A7}"/>
                </a:ext>
              </a:extLst>
            </p:cNvPr>
            <p:cNvSpPr/>
            <p:nvPr/>
          </p:nvSpPr>
          <p:spPr bwMode="auto">
            <a:xfrm>
              <a:off x="10495195" y="2941204"/>
              <a:ext cx="1165754" cy="1165754"/>
            </a:xfrm>
            <a:prstGeom prst="ellipse">
              <a:avLst/>
            </a:prstGeom>
            <a:solidFill>
              <a:schemeClr val="bg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 name="Freeform 5">
              <a:extLst>
                <a:ext uri="{FF2B5EF4-FFF2-40B4-BE49-F238E27FC236}">
                  <a16:creationId xmlns:a16="http://schemas.microsoft.com/office/drawing/2014/main" id="{1459919D-F1E7-418D-AF32-705CD6154CE9}"/>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rgbClr val="0063B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FF9D7749-590C-4B2A-A451-0C638655C076}"/>
              </a:ext>
            </a:extLst>
          </p:cNvPr>
          <p:cNvSpPr>
            <a:spLocks noGrp="1"/>
          </p:cNvSpPr>
          <p:nvPr>
            <p:ph type="title"/>
          </p:nvPr>
        </p:nvSpPr>
        <p:spPr/>
        <p:txBody>
          <a:bodyPr/>
          <a:lstStyle/>
          <a:p>
            <a:r>
              <a:rPr lang="en-US" altLang="en-US" dirty="0">
                <a:gradFill>
                  <a:gsLst>
                    <a:gs pos="1250">
                      <a:schemeClr val="bg1"/>
                    </a:gs>
                    <a:gs pos="100000">
                      <a:schemeClr val="bg1"/>
                    </a:gs>
                  </a:gsLst>
                  <a:lin ang="5400000" scaled="0"/>
                </a:gradFill>
              </a:rPr>
              <a:t>Microsoft Cognitive Services</a:t>
            </a:r>
            <a:br>
              <a:rPr lang="en-US" altLang="en-US" dirty="0">
                <a:gradFill>
                  <a:gsLst>
                    <a:gs pos="1250">
                      <a:schemeClr val="bg1"/>
                    </a:gs>
                    <a:gs pos="100000">
                      <a:schemeClr val="bg1"/>
                    </a:gs>
                  </a:gsLst>
                  <a:lin ang="5400000" scaled="0"/>
                </a:gradFill>
              </a:rPr>
            </a:br>
            <a:r>
              <a:rPr lang="en-US" sz="2400" dirty="0">
                <a:gradFill>
                  <a:gsLst>
                    <a:gs pos="1250">
                      <a:schemeClr val="bg1"/>
                    </a:gs>
                    <a:gs pos="100000">
                      <a:schemeClr val="bg1"/>
                    </a:gs>
                  </a:gsLst>
                  <a:lin ang="5400000" scaled="0"/>
                </a:gradFill>
              </a:rPr>
              <a:t>Give your apps a human side</a:t>
            </a:r>
            <a:endParaRPr lang="en-US" dirty="0">
              <a:gradFill>
                <a:gsLst>
                  <a:gs pos="1250">
                    <a:schemeClr val="bg1"/>
                  </a:gs>
                  <a:gs pos="100000">
                    <a:schemeClr val="bg1"/>
                  </a:gs>
                </a:gsLst>
                <a:lin ang="5400000" scaled="0"/>
              </a:gradFill>
            </a:endParaRPr>
          </a:p>
        </p:txBody>
      </p:sp>
    </p:spTree>
    <p:extLst>
      <p:ext uri="{BB962C8B-B14F-4D97-AF65-F5344CB8AC3E}">
        <p14:creationId xmlns:p14="http://schemas.microsoft.com/office/powerpoint/2010/main" val="1103526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2"/>
                                        </p:tgtEl>
                                        <p:attrNameLst>
                                          <p:attrName>ppt_x</p:attrName>
                                          <p:attrName>ppt_y</p:attrName>
                                        </p:attrNameLst>
                                      </p:cBhvr>
                                      <p:rCtr x="2331" y="0"/>
                                    </p:animMotion>
                                  </p:childTnLst>
                                </p:cTn>
                              </p:par>
                              <p:par>
                                <p:cTn id="10" presetID="10"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0"/>
                                  </p:stCondLst>
                                  <p:childTnLst>
                                    <p:animMotion origin="layout" path="M -1.25E-6 -1.85185E-6 L -1.25E-6 0.03727 " pathEditMode="relative" rAng="0" ptsTypes="AA">
                                      <p:cBhvr>
                                        <p:cTn id="14" dur="750" spd="-100000" fill="hold"/>
                                        <p:tgtEl>
                                          <p:spTgt spid="15"/>
                                        </p:tgtEl>
                                        <p:attrNameLst>
                                          <p:attrName>ppt_x</p:attrName>
                                          <p:attrName>ppt_y</p:attrName>
                                        </p:attrNameLst>
                                      </p:cBhvr>
                                      <p:rCtr x="0" y="1852"/>
                                    </p:animMotion>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grpId="1" nodeType="withEffect">
                                  <p:stCondLst>
                                    <p:cond delay="0"/>
                                  </p:stCondLst>
                                  <p:childTnLst>
                                    <p:animMotion origin="layout" path="M -1.25E-6 -1.85185E-6 L -1.25E-6 0.03727 " pathEditMode="relative" rAng="0" ptsTypes="AA">
                                      <p:cBhvr>
                                        <p:cTn id="19" dur="750" spd="-100000" fill="hold"/>
                                        <p:tgtEl>
                                          <p:spTgt spid="18"/>
                                        </p:tgtEl>
                                        <p:attrNameLst>
                                          <p:attrName>ppt_x</p:attrName>
                                          <p:attrName>ppt_y</p:attrName>
                                        </p:attrNameLst>
                                      </p:cBhvr>
                                      <p:rCtr x="0" y="1852"/>
                                    </p:animMotion>
                                  </p:childTnLst>
                                </p:cTn>
                              </p:par>
                              <p:par>
                                <p:cTn id="20" presetID="10" presetClass="entr" presetSubtype="0" fill="hold" nodeType="withEffect">
                                  <p:stCondLst>
                                    <p:cond delay="2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42" presetClass="path" presetSubtype="0" decel="100000" fill="hold" nodeType="withEffect">
                                  <p:stCondLst>
                                    <p:cond delay="200"/>
                                  </p:stCondLst>
                                  <p:childTnLst>
                                    <p:animMotion origin="layout" path="M -1.25E-6 -1.85185E-6 L -1.25E-6 0.03727 " pathEditMode="relative" rAng="0" ptsTypes="AA">
                                      <p:cBhvr>
                                        <p:cTn id="24" dur="750" spd="-100000" fill="hold"/>
                                        <p:tgtEl>
                                          <p:spTgt spid="17"/>
                                        </p:tgtEl>
                                        <p:attrNameLst>
                                          <p:attrName>ppt_x</p:attrName>
                                          <p:attrName>ppt_y</p:attrName>
                                        </p:attrNameLst>
                                      </p:cBhvr>
                                      <p:rCtr x="0" y="1852"/>
                                    </p:animMotion>
                                  </p:childTnLst>
                                </p:cTn>
                              </p:par>
                              <p:par>
                                <p:cTn id="25" presetID="10" presetClass="entr" presetSubtype="0" fill="hold" grpId="0" nodeType="withEffect">
                                  <p:stCondLst>
                                    <p:cond delay="20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42" presetClass="path" presetSubtype="0" decel="100000" fill="hold" grpId="1" nodeType="withEffect">
                                  <p:stCondLst>
                                    <p:cond delay="200"/>
                                  </p:stCondLst>
                                  <p:childTnLst>
                                    <p:animMotion origin="layout" path="M -1.25E-6 -1.85185E-6 L -1.25E-6 0.03727 " pathEditMode="relative" rAng="0" ptsTypes="AA">
                                      <p:cBhvr>
                                        <p:cTn id="29" dur="750" spd="-100000" fill="hold"/>
                                        <p:tgtEl>
                                          <p:spTgt spid="19"/>
                                        </p:tgtEl>
                                        <p:attrNameLst>
                                          <p:attrName>ppt_x</p:attrName>
                                          <p:attrName>ppt_y</p:attrName>
                                        </p:attrNameLst>
                                      </p:cBhvr>
                                      <p:rCtr x="0" y="1852"/>
                                    </p:animMotion>
                                  </p:childTnLst>
                                </p:cTn>
                              </p:par>
                              <p:par>
                                <p:cTn id="30" presetID="10" presetClass="entr" presetSubtype="0" fill="hold" nodeType="withEffect">
                                  <p:stCondLst>
                                    <p:cond delay="40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42" presetClass="path" presetSubtype="0" decel="100000" fill="hold" nodeType="withEffect">
                                  <p:stCondLst>
                                    <p:cond delay="400"/>
                                  </p:stCondLst>
                                  <p:childTnLst>
                                    <p:animMotion origin="layout" path="M -1.25E-6 -1.85185E-6 L -1.25E-6 0.03727 " pathEditMode="relative" rAng="0" ptsTypes="AA">
                                      <p:cBhvr>
                                        <p:cTn id="34" dur="750" spd="-100000" fill="hold"/>
                                        <p:tgtEl>
                                          <p:spTgt spid="6"/>
                                        </p:tgtEl>
                                        <p:attrNameLst>
                                          <p:attrName>ppt_x</p:attrName>
                                          <p:attrName>ppt_y</p:attrName>
                                        </p:attrNameLst>
                                      </p:cBhvr>
                                      <p:rCtr x="0" y="1852"/>
                                    </p:animMotion>
                                  </p:childTnLst>
                                </p:cTn>
                              </p:par>
                              <p:par>
                                <p:cTn id="35" presetID="10" presetClass="entr" presetSubtype="0" fill="hold" grpId="0" nodeType="withEffect">
                                  <p:stCondLst>
                                    <p:cond delay="40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par>
                                <p:cTn id="38" presetID="42" presetClass="path" presetSubtype="0" decel="100000" fill="hold" grpId="1" nodeType="withEffect">
                                  <p:stCondLst>
                                    <p:cond delay="400"/>
                                  </p:stCondLst>
                                  <p:childTnLst>
                                    <p:animMotion origin="layout" path="M -1.25E-6 -1.85185E-6 L -1.25E-6 0.03727 " pathEditMode="relative" rAng="0" ptsTypes="AA">
                                      <p:cBhvr>
                                        <p:cTn id="39" dur="750" spd="-100000" fill="hold"/>
                                        <p:tgtEl>
                                          <p:spTgt spid="21"/>
                                        </p:tgtEl>
                                        <p:attrNameLst>
                                          <p:attrName>ppt_x</p:attrName>
                                          <p:attrName>ppt_y</p:attrName>
                                        </p:attrNameLst>
                                      </p:cBhvr>
                                      <p:rCtr x="0" y="1852"/>
                                    </p:animMotion>
                                  </p:childTnLst>
                                </p:cTn>
                              </p:par>
                              <p:par>
                                <p:cTn id="40" presetID="10" presetClass="entr" presetSubtype="0" fill="hold" nodeType="withEffect">
                                  <p:stCondLst>
                                    <p:cond delay="60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par>
                                <p:cTn id="43" presetID="42" presetClass="path" presetSubtype="0" decel="100000" fill="hold" nodeType="withEffect">
                                  <p:stCondLst>
                                    <p:cond delay="600"/>
                                  </p:stCondLst>
                                  <p:childTnLst>
                                    <p:animMotion origin="layout" path="M -1.25E-6 -1.85185E-6 L -1.25E-6 0.03727 " pathEditMode="relative" rAng="0" ptsTypes="AA">
                                      <p:cBhvr>
                                        <p:cTn id="44" dur="750" spd="-100000" fill="hold"/>
                                        <p:tgtEl>
                                          <p:spTgt spid="3"/>
                                        </p:tgtEl>
                                        <p:attrNameLst>
                                          <p:attrName>ppt_x</p:attrName>
                                          <p:attrName>ppt_y</p:attrName>
                                        </p:attrNameLst>
                                      </p:cBhvr>
                                      <p:rCtr x="0" y="1852"/>
                                    </p:animMotion>
                                  </p:childTnLst>
                                </p:cTn>
                              </p:par>
                              <p:par>
                                <p:cTn id="45" presetID="10" presetClass="entr" presetSubtype="0" fill="hold" grpId="0" nodeType="withEffect">
                                  <p:stCondLst>
                                    <p:cond delay="60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42" presetClass="path" presetSubtype="0" decel="100000" fill="hold" grpId="1" nodeType="withEffect">
                                  <p:stCondLst>
                                    <p:cond delay="600"/>
                                  </p:stCondLst>
                                  <p:childTnLst>
                                    <p:animMotion origin="layout" path="M -1.25E-6 -1.85185E-6 L -1.25E-6 0.03727 " pathEditMode="relative" rAng="0" ptsTypes="AA">
                                      <p:cBhvr>
                                        <p:cTn id="49" dur="750" spd="-100000" fill="hold"/>
                                        <p:tgtEl>
                                          <p:spTgt spid="20"/>
                                        </p:tgtEl>
                                        <p:attrNameLst>
                                          <p:attrName>ppt_x</p:attrName>
                                          <p:attrName>ppt_y</p:attrName>
                                        </p:attrNameLst>
                                      </p:cBhvr>
                                      <p:rCtr x="0" y="1852"/>
                                    </p:animMotion>
                                  </p:childTnLst>
                                </p:cTn>
                              </p:par>
                              <p:par>
                                <p:cTn id="50" presetID="10" presetClass="entr" presetSubtype="0" fill="hold" nodeType="withEffect">
                                  <p:stCondLst>
                                    <p:cond delay="80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par>
                                <p:cTn id="53" presetID="42" presetClass="path" presetSubtype="0" decel="100000" fill="hold" nodeType="withEffect">
                                  <p:stCondLst>
                                    <p:cond delay="800"/>
                                  </p:stCondLst>
                                  <p:childTnLst>
                                    <p:animMotion origin="layout" path="M -1.25E-6 -1.85185E-6 L -1.25E-6 0.03727 " pathEditMode="relative" rAng="0" ptsTypes="AA">
                                      <p:cBhvr>
                                        <p:cTn id="54" dur="750" spd="-100000" fill="hold"/>
                                        <p:tgtEl>
                                          <p:spTgt spid="12"/>
                                        </p:tgtEl>
                                        <p:attrNameLst>
                                          <p:attrName>ppt_x</p:attrName>
                                          <p:attrName>ppt_y</p:attrName>
                                        </p:attrNameLst>
                                      </p:cBhvr>
                                      <p:rCtr x="0" y="1852"/>
                                    </p:animMotion>
                                  </p:childTnLst>
                                </p:cTn>
                              </p:par>
                              <p:par>
                                <p:cTn id="55" presetID="10" presetClass="entr" presetSubtype="0" fill="hold" grpId="0" nodeType="withEffect">
                                  <p:stCondLst>
                                    <p:cond delay="80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42" presetClass="path" presetSubtype="0" decel="100000" fill="hold" grpId="1" nodeType="withEffect">
                                  <p:stCondLst>
                                    <p:cond delay="800"/>
                                  </p:stCondLst>
                                  <p:childTnLst>
                                    <p:animMotion origin="layout" path="M -1.25E-6 -1.85185E-6 L -1.25E-6 0.03727 " pathEditMode="relative" rAng="0" ptsTypes="AA">
                                      <p:cBhvr>
                                        <p:cTn id="59" dur="750" spd="-100000" fill="hold"/>
                                        <p:tgtEl>
                                          <p:spTgt spid="28"/>
                                        </p:tgtEl>
                                        <p:attrNameLst>
                                          <p:attrName>ppt_x</p:attrName>
                                          <p:attrName>ppt_y</p:attrName>
                                        </p:attrNameLst>
                                      </p:cBhvr>
                                      <p:rCtr x="0" y="1852"/>
                                    </p:animMotion>
                                  </p:childTnLst>
                                </p:cTn>
                              </p:par>
                              <p:par>
                                <p:cTn id="60" presetID="10" presetClass="entr" presetSubtype="0" fill="hold" nodeType="withEffect">
                                  <p:stCondLst>
                                    <p:cond delay="100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500"/>
                                        <p:tgtEl>
                                          <p:spTgt spid="10"/>
                                        </p:tgtEl>
                                      </p:cBhvr>
                                    </p:animEffect>
                                  </p:childTnLst>
                                </p:cTn>
                              </p:par>
                              <p:par>
                                <p:cTn id="63" presetID="42" presetClass="path" presetSubtype="0" decel="100000" fill="hold" nodeType="withEffect">
                                  <p:stCondLst>
                                    <p:cond delay="1000"/>
                                  </p:stCondLst>
                                  <p:childTnLst>
                                    <p:animMotion origin="layout" path="M -1.25E-6 -1.85185E-6 L -1.25E-6 0.03727 " pathEditMode="relative" rAng="0" ptsTypes="AA">
                                      <p:cBhvr>
                                        <p:cTn id="64" dur="750" spd="-100000" fill="hold"/>
                                        <p:tgtEl>
                                          <p:spTgt spid="10"/>
                                        </p:tgtEl>
                                        <p:attrNameLst>
                                          <p:attrName>ppt_x</p:attrName>
                                          <p:attrName>ppt_y</p:attrName>
                                        </p:attrNameLst>
                                      </p:cBhvr>
                                      <p:rCtr x="0" y="1852"/>
                                    </p:animMotion>
                                  </p:childTnLst>
                                </p:cTn>
                              </p:par>
                              <p:par>
                                <p:cTn id="65" presetID="10" presetClass="entr" presetSubtype="0" fill="hold" grpId="0" nodeType="withEffect">
                                  <p:stCondLst>
                                    <p:cond delay="100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500"/>
                                        <p:tgtEl>
                                          <p:spTgt spid="27"/>
                                        </p:tgtEl>
                                      </p:cBhvr>
                                    </p:animEffect>
                                  </p:childTnLst>
                                </p:cTn>
                              </p:par>
                              <p:par>
                                <p:cTn id="68" presetID="42" presetClass="path" presetSubtype="0" decel="100000" fill="hold" grpId="1" nodeType="withEffect">
                                  <p:stCondLst>
                                    <p:cond delay="1000"/>
                                  </p:stCondLst>
                                  <p:childTnLst>
                                    <p:animMotion origin="layout" path="M -1.25E-6 -1.85185E-6 L -1.25E-6 0.03727 " pathEditMode="relative" rAng="0" ptsTypes="AA">
                                      <p:cBhvr>
                                        <p:cTn id="69" dur="750" spd="-100000" fill="hold"/>
                                        <p:tgtEl>
                                          <p:spTgt spid="27"/>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20" grpId="0"/>
      <p:bldP spid="20" grpId="1"/>
      <p:bldP spid="21" grpId="0"/>
      <p:bldP spid="21" grpId="1"/>
      <p:bldP spid="28" grpId="0"/>
      <p:bldP spid="28" grpId="1"/>
      <p:bldP spid="18" grpId="0"/>
      <p:bldP spid="18" grpId="1"/>
      <p:bldP spid="19" grpId="0"/>
      <p:bldP spid="19" grpId="1"/>
      <p:bldP spid="2" grpId="0"/>
      <p:bldP spid="2"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D30074-0A01-4149-8D4F-88054C7B4F1A}"/>
              </a:ext>
            </a:extLst>
          </p:cNvPr>
          <p:cNvPicPr>
            <a:picLocks noChangeAspect="1"/>
          </p:cNvPicPr>
          <p:nvPr/>
        </p:nvPicPr>
        <p:blipFill>
          <a:blip r:embed="rId2"/>
          <a:stretch>
            <a:fillRect/>
          </a:stretch>
        </p:blipFill>
        <p:spPr>
          <a:xfrm>
            <a:off x="0" y="135731"/>
            <a:ext cx="12192000" cy="6586538"/>
          </a:xfrm>
          <a:prstGeom prst="rect">
            <a:avLst/>
          </a:prstGeom>
        </p:spPr>
      </p:pic>
    </p:spTree>
    <p:extLst>
      <p:ext uri="{BB962C8B-B14F-4D97-AF65-F5344CB8AC3E}">
        <p14:creationId xmlns:p14="http://schemas.microsoft.com/office/powerpoint/2010/main" val="1383136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8B61713-B8B3-4EAC-AAEA-09D58F3902BB}"/>
              </a:ext>
            </a:extLst>
          </p:cNvPr>
          <p:cNvPicPr>
            <a:picLocks noChangeAspect="1"/>
          </p:cNvPicPr>
          <p:nvPr/>
        </p:nvPicPr>
        <p:blipFill>
          <a:blip r:embed="rId2"/>
          <a:stretch>
            <a:fillRect/>
          </a:stretch>
        </p:blipFill>
        <p:spPr>
          <a:xfrm>
            <a:off x="11862" y="152376"/>
            <a:ext cx="12168276" cy="6553248"/>
          </a:xfrm>
          <a:prstGeom prst="rect">
            <a:avLst/>
          </a:prstGeom>
        </p:spPr>
      </p:pic>
    </p:spTree>
    <p:extLst>
      <p:ext uri="{BB962C8B-B14F-4D97-AF65-F5344CB8AC3E}">
        <p14:creationId xmlns:p14="http://schemas.microsoft.com/office/powerpoint/2010/main" val="56287109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2290D2B-66B4-4A6B-80F7-3A59813DC1AD}"/>
              </a:ext>
            </a:extLst>
          </p:cNvPr>
          <p:cNvPicPr>
            <a:picLocks noChangeAspect="1"/>
          </p:cNvPicPr>
          <p:nvPr/>
        </p:nvPicPr>
        <p:blipFill>
          <a:blip r:embed="rId2"/>
          <a:stretch>
            <a:fillRect/>
          </a:stretch>
        </p:blipFill>
        <p:spPr>
          <a:xfrm>
            <a:off x="0" y="145256"/>
            <a:ext cx="12192000" cy="6567488"/>
          </a:xfrm>
          <a:prstGeom prst="rect">
            <a:avLst/>
          </a:prstGeom>
        </p:spPr>
      </p:pic>
    </p:spTree>
    <p:extLst>
      <p:ext uri="{BB962C8B-B14F-4D97-AF65-F5344CB8AC3E}">
        <p14:creationId xmlns:p14="http://schemas.microsoft.com/office/powerpoint/2010/main" val="32031082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24" y="487"/>
            <a:ext cx="12191377" cy="6857027"/>
          </a:xfrm>
          <a:prstGeom prst="rect">
            <a:avLst/>
          </a:prstGeom>
        </p:spPr>
      </p:pic>
      <p:grpSp>
        <p:nvGrpSpPr>
          <p:cNvPr id="10" name="Group 9">
            <a:extLst>
              <a:ext uri="{FF2B5EF4-FFF2-40B4-BE49-F238E27FC236}">
                <a16:creationId xmlns:a16="http://schemas.microsoft.com/office/drawing/2014/main" id="{AED69270-2D2C-4956-A72F-53FB0C0FF1C8}"/>
              </a:ext>
            </a:extLst>
          </p:cNvPr>
          <p:cNvGrpSpPr/>
          <p:nvPr/>
        </p:nvGrpSpPr>
        <p:grpSpPr>
          <a:xfrm>
            <a:off x="1" y="-17246"/>
            <a:ext cx="5638800" cy="6892494"/>
            <a:chOff x="1" y="-17246"/>
            <a:chExt cx="5638800" cy="6892494"/>
          </a:xfrm>
        </p:grpSpPr>
        <p:sp>
          <p:nvSpPr>
            <p:cNvPr id="5" name="Rectangle 4"/>
            <p:cNvSpPr/>
            <p:nvPr/>
          </p:nvSpPr>
          <p:spPr bwMode="auto">
            <a:xfrm>
              <a:off x="1" y="-17246"/>
              <a:ext cx="5638800" cy="689249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6284" rIns="358570" bIns="14628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470"/>
                </a:spcAft>
                <a:buClrTx/>
                <a:buSzTx/>
                <a:buFontTx/>
                <a:buNone/>
                <a:tabLst/>
                <a:defRPr/>
              </a:pPr>
              <a:endParaRPr kumimoji="0" lang="en-US" sz="1568" b="0" i="1" u="none" strike="noStrike" kern="0" cap="none" spc="0" normalizeH="0" baseline="0" noProof="0">
                <a:ln>
                  <a:noFill/>
                </a:ln>
                <a:solidFill>
                  <a:srgbClr val="FFFFFF"/>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357E1051-5AEA-4D36-A6A0-AC641C47D979}"/>
                </a:ext>
              </a:extLst>
            </p:cNvPr>
            <p:cNvGrpSpPr/>
            <p:nvPr/>
          </p:nvGrpSpPr>
          <p:grpSpPr>
            <a:xfrm>
              <a:off x="190500" y="243520"/>
              <a:ext cx="5396877" cy="6329099"/>
              <a:chOff x="564787" y="243520"/>
              <a:chExt cx="5396877" cy="6329099"/>
            </a:xfrm>
          </p:grpSpPr>
          <p:grpSp>
            <p:nvGrpSpPr>
              <p:cNvPr id="2" name="Group 1"/>
              <p:cNvGrpSpPr/>
              <p:nvPr/>
            </p:nvGrpSpPr>
            <p:grpSpPr>
              <a:xfrm>
                <a:off x="564787" y="243520"/>
                <a:ext cx="5396877" cy="6329099"/>
                <a:chOff x="-2123038" y="-299405"/>
                <a:chExt cx="5973236" cy="6329099"/>
              </a:xfrm>
            </p:grpSpPr>
            <p:sp>
              <p:nvSpPr>
                <p:cNvPr id="7" name="Rectangle 6"/>
                <p:cNvSpPr/>
                <p:nvPr/>
              </p:nvSpPr>
              <p:spPr bwMode="auto">
                <a:xfrm>
                  <a:off x="-2123037" y="1191432"/>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Learn more on the Cognitive Services </a:t>
                  </a: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hlinkClick r:id="rId4"/>
                    </a:rPr>
                    <a:t>documentation</a:t>
                  </a:r>
                  <a:endPar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endParaRPr>
                </a:p>
              </p:txBody>
            </p:sp>
            <p:sp>
              <p:nvSpPr>
                <p:cNvPr id="8" name="Rectangle 7"/>
                <p:cNvSpPr/>
                <p:nvPr/>
              </p:nvSpPr>
              <p:spPr bwMode="auto">
                <a:xfrm>
                  <a:off x="-2123037" y="2756238"/>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Schedule a workshop to identify areas in your business where analytics and intelligence can </a:t>
                  </a:r>
                  <a:b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b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drive transformation</a:t>
                  </a:r>
                </a:p>
              </p:txBody>
            </p:sp>
            <p:sp>
              <p:nvSpPr>
                <p:cNvPr id="9" name="Rectangle 8"/>
                <p:cNvSpPr/>
                <p:nvPr/>
              </p:nvSpPr>
              <p:spPr bwMode="auto">
                <a:xfrm>
                  <a:off x="-2123038" y="4344705"/>
                  <a:ext cx="5973236"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rPr>
                    <a:t>Talk with your Microsoft contact about licensing options and partners</a:t>
                  </a:r>
                </a:p>
              </p:txBody>
            </p:sp>
            <p:grpSp>
              <p:nvGrpSpPr>
                <p:cNvPr id="13" name="Group 12"/>
                <p:cNvGrpSpPr/>
                <p:nvPr/>
              </p:nvGrpSpPr>
              <p:grpSpPr>
                <a:xfrm>
                  <a:off x="-1845606" y="1742385"/>
                  <a:ext cx="648798" cy="583082"/>
                  <a:chOff x="2206625" y="3448050"/>
                  <a:chExt cx="862013" cy="774701"/>
                </a:xfrm>
                <a:solidFill>
                  <a:schemeClr val="accent1"/>
                </a:solidFill>
              </p:grpSpPr>
              <p:sp>
                <p:nvSpPr>
                  <p:cNvPr id="14" name="Freeform 20"/>
                  <p:cNvSpPr>
                    <a:spLocks/>
                  </p:cNvSpPr>
                  <p:nvPr/>
                </p:nvSpPr>
                <p:spPr bwMode="auto">
                  <a:xfrm>
                    <a:off x="2206625" y="3448050"/>
                    <a:ext cx="663575" cy="417513"/>
                  </a:xfrm>
                  <a:custGeom>
                    <a:avLst/>
                    <a:gdLst>
                      <a:gd name="T0" fmla="*/ 225 w 418"/>
                      <a:gd name="T1" fmla="*/ 263 h 263"/>
                      <a:gd name="T2" fmla="*/ 0 w 418"/>
                      <a:gd name="T3" fmla="*/ 263 h 263"/>
                      <a:gd name="T4" fmla="*/ 0 w 418"/>
                      <a:gd name="T5" fmla="*/ 0 h 263"/>
                      <a:gd name="T6" fmla="*/ 418 w 418"/>
                      <a:gd name="T7" fmla="*/ 0 h 263"/>
                      <a:gd name="T8" fmla="*/ 418 w 418"/>
                      <a:gd name="T9" fmla="*/ 90 h 263"/>
                      <a:gd name="T10" fmla="*/ 407 w 418"/>
                      <a:gd name="T11" fmla="*/ 90 h 263"/>
                      <a:gd name="T12" fmla="*/ 407 w 418"/>
                      <a:gd name="T13" fmla="*/ 12 h 263"/>
                      <a:gd name="T14" fmla="*/ 12 w 418"/>
                      <a:gd name="T15" fmla="*/ 12 h 263"/>
                      <a:gd name="T16" fmla="*/ 12 w 418"/>
                      <a:gd name="T17" fmla="*/ 250 h 263"/>
                      <a:gd name="T18" fmla="*/ 225 w 418"/>
                      <a:gd name="T19" fmla="*/ 250 h 263"/>
                      <a:gd name="T20" fmla="*/ 225 w 418"/>
                      <a:gd name="T21"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8" h="263">
                        <a:moveTo>
                          <a:pt x="225" y="263"/>
                        </a:moveTo>
                        <a:lnTo>
                          <a:pt x="0" y="263"/>
                        </a:lnTo>
                        <a:lnTo>
                          <a:pt x="0" y="0"/>
                        </a:lnTo>
                        <a:lnTo>
                          <a:pt x="418" y="0"/>
                        </a:lnTo>
                        <a:lnTo>
                          <a:pt x="418" y="90"/>
                        </a:lnTo>
                        <a:lnTo>
                          <a:pt x="407" y="90"/>
                        </a:lnTo>
                        <a:lnTo>
                          <a:pt x="407" y="12"/>
                        </a:lnTo>
                        <a:lnTo>
                          <a:pt x="12" y="12"/>
                        </a:lnTo>
                        <a:lnTo>
                          <a:pt x="12" y="250"/>
                        </a:lnTo>
                        <a:lnTo>
                          <a:pt x="225" y="250"/>
                        </a:lnTo>
                        <a:lnTo>
                          <a:pt x="225" y="263"/>
                        </a:ln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 name="Rectangle 14"/>
                  <p:cNvSpPr>
                    <a:spLocks noChangeArrowheads="1"/>
                  </p:cNvSpPr>
                  <p:nvPr/>
                </p:nvSpPr>
                <p:spPr bwMode="auto">
                  <a:xfrm>
                    <a:off x="2384425" y="3910013"/>
                    <a:ext cx="231775" cy="19050"/>
                  </a:xfrm>
                  <a:prstGeom prst="rect">
                    <a:avLst/>
                  </a:prstGeom>
                  <a:solidFill>
                    <a:schemeClr val="bg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 name="Rectangle 15"/>
                  <p:cNvSpPr>
                    <a:spLocks noChangeArrowheads="1"/>
                  </p:cNvSpPr>
                  <p:nvPr/>
                </p:nvSpPr>
                <p:spPr bwMode="auto">
                  <a:xfrm>
                    <a:off x="2430463" y="3854450"/>
                    <a:ext cx="20638" cy="65088"/>
                  </a:xfrm>
                  <a:prstGeom prst="rect">
                    <a:avLst/>
                  </a:prstGeom>
                  <a:solidFill>
                    <a:srgbClr val="002050"/>
                  </a:solidFill>
                  <a:ln w="9525">
                    <a:solidFill>
                      <a:srgbClr val="00205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 name="Freeform 19"/>
                  <p:cNvSpPr>
                    <a:spLocks noEditPoints="1"/>
                  </p:cNvSpPr>
                  <p:nvPr/>
                </p:nvSpPr>
                <p:spPr bwMode="auto">
                  <a:xfrm>
                    <a:off x="2359025" y="3519488"/>
                    <a:ext cx="709613" cy="703263"/>
                  </a:xfrm>
                  <a:custGeom>
                    <a:avLst/>
                    <a:gdLst>
                      <a:gd name="T0" fmla="*/ 3 w 447"/>
                      <a:gd name="T1" fmla="*/ 418 h 443"/>
                      <a:gd name="T2" fmla="*/ 11 w 447"/>
                      <a:gd name="T3" fmla="*/ 356 h 443"/>
                      <a:gd name="T4" fmla="*/ 41 w 447"/>
                      <a:gd name="T5" fmla="*/ 322 h 443"/>
                      <a:gd name="T6" fmla="*/ 83 w 447"/>
                      <a:gd name="T7" fmla="*/ 305 h 443"/>
                      <a:gd name="T8" fmla="*/ 139 w 447"/>
                      <a:gd name="T9" fmla="*/ 281 h 443"/>
                      <a:gd name="T10" fmla="*/ 156 w 447"/>
                      <a:gd name="T11" fmla="*/ 260 h 443"/>
                      <a:gd name="T12" fmla="*/ 134 w 447"/>
                      <a:gd name="T13" fmla="*/ 228 h 443"/>
                      <a:gd name="T14" fmla="*/ 101 w 447"/>
                      <a:gd name="T15" fmla="*/ 177 h 443"/>
                      <a:gd name="T16" fmla="*/ 103 w 447"/>
                      <a:gd name="T17" fmla="*/ 138 h 443"/>
                      <a:gd name="T18" fmla="*/ 106 w 447"/>
                      <a:gd name="T19" fmla="*/ 103 h 443"/>
                      <a:gd name="T20" fmla="*/ 123 w 447"/>
                      <a:gd name="T21" fmla="*/ 48 h 443"/>
                      <a:gd name="T22" fmla="*/ 165 w 447"/>
                      <a:gd name="T23" fmla="*/ 19 h 443"/>
                      <a:gd name="T24" fmla="*/ 252 w 447"/>
                      <a:gd name="T25" fmla="*/ 0 h 443"/>
                      <a:gd name="T26" fmla="*/ 296 w 447"/>
                      <a:gd name="T27" fmla="*/ 22 h 443"/>
                      <a:gd name="T28" fmla="*/ 314 w 447"/>
                      <a:gd name="T29" fmla="*/ 37 h 443"/>
                      <a:gd name="T30" fmla="*/ 339 w 447"/>
                      <a:gd name="T31" fmla="*/ 67 h 443"/>
                      <a:gd name="T32" fmla="*/ 345 w 447"/>
                      <a:gd name="T33" fmla="*/ 115 h 443"/>
                      <a:gd name="T34" fmla="*/ 347 w 447"/>
                      <a:gd name="T35" fmla="*/ 152 h 443"/>
                      <a:gd name="T36" fmla="*/ 336 w 447"/>
                      <a:gd name="T37" fmla="*/ 197 h 443"/>
                      <a:gd name="T38" fmla="*/ 297 w 447"/>
                      <a:gd name="T39" fmla="*/ 247 h 443"/>
                      <a:gd name="T40" fmla="*/ 285 w 447"/>
                      <a:gd name="T41" fmla="*/ 264 h 443"/>
                      <a:gd name="T42" fmla="*/ 305 w 447"/>
                      <a:gd name="T43" fmla="*/ 281 h 443"/>
                      <a:gd name="T44" fmla="*/ 395 w 447"/>
                      <a:gd name="T45" fmla="*/ 316 h 443"/>
                      <a:gd name="T46" fmla="*/ 434 w 447"/>
                      <a:gd name="T47" fmla="*/ 347 h 443"/>
                      <a:gd name="T48" fmla="*/ 445 w 447"/>
                      <a:gd name="T49" fmla="*/ 396 h 443"/>
                      <a:gd name="T50" fmla="*/ 14 w 447"/>
                      <a:gd name="T51" fmla="*/ 431 h 443"/>
                      <a:gd name="T52" fmla="*/ 434 w 447"/>
                      <a:gd name="T53" fmla="*/ 395 h 443"/>
                      <a:gd name="T54" fmla="*/ 423 w 447"/>
                      <a:gd name="T55" fmla="*/ 353 h 443"/>
                      <a:gd name="T56" fmla="*/ 391 w 447"/>
                      <a:gd name="T57" fmla="*/ 328 h 443"/>
                      <a:gd name="T58" fmla="*/ 299 w 447"/>
                      <a:gd name="T59" fmla="*/ 292 h 443"/>
                      <a:gd name="T60" fmla="*/ 272 w 447"/>
                      <a:gd name="T61" fmla="*/ 266 h 443"/>
                      <a:gd name="T62" fmla="*/ 280 w 447"/>
                      <a:gd name="T63" fmla="*/ 249 h 443"/>
                      <a:gd name="T64" fmla="*/ 317 w 447"/>
                      <a:gd name="T65" fmla="*/ 202 h 443"/>
                      <a:gd name="T66" fmla="*/ 336 w 447"/>
                      <a:gd name="T67" fmla="*/ 168 h 443"/>
                      <a:gd name="T68" fmla="*/ 333 w 447"/>
                      <a:gd name="T69" fmla="*/ 135 h 443"/>
                      <a:gd name="T70" fmla="*/ 331 w 447"/>
                      <a:gd name="T71" fmla="*/ 82 h 443"/>
                      <a:gd name="T72" fmla="*/ 313 w 447"/>
                      <a:gd name="T73" fmla="*/ 50 h 443"/>
                      <a:gd name="T74" fmla="*/ 293 w 447"/>
                      <a:gd name="T75" fmla="*/ 37 h 443"/>
                      <a:gd name="T76" fmla="*/ 263 w 447"/>
                      <a:gd name="T77" fmla="*/ 14 h 443"/>
                      <a:gd name="T78" fmla="*/ 213 w 447"/>
                      <a:gd name="T79" fmla="*/ 16 h 443"/>
                      <a:gd name="T80" fmla="*/ 137 w 447"/>
                      <a:gd name="T81" fmla="*/ 50 h 443"/>
                      <a:gd name="T82" fmla="*/ 118 w 447"/>
                      <a:gd name="T83" fmla="*/ 106 h 443"/>
                      <a:gd name="T84" fmla="*/ 117 w 447"/>
                      <a:gd name="T85" fmla="*/ 132 h 443"/>
                      <a:gd name="T86" fmla="*/ 111 w 447"/>
                      <a:gd name="T87" fmla="*/ 159 h 443"/>
                      <a:gd name="T88" fmla="*/ 128 w 447"/>
                      <a:gd name="T89" fmla="*/ 200 h 443"/>
                      <a:gd name="T90" fmla="*/ 165 w 447"/>
                      <a:gd name="T91" fmla="*/ 246 h 443"/>
                      <a:gd name="T92" fmla="*/ 157 w 447"/>
                      <a:gd name="T93" fmla="*/ 281 h 443"/>
                      <a:gd name="T94" fmla="*/ 111 w 447"/>
                      <a:gd name="T95" fmla="*/ 308 h 443"/>
                      <a:gd name="T96" fmla="*/ 70 w 447"/>
                      <a:gd name="T97" fmla="*/ 322 h 443"/>
                      <a:gd name="T98" fmla="*/ 34 w 447"/>
                      <a:gd name="T99" fmla="*/ 342 h 443"/>
                      <a:gd name="T100" fmla="*/ 17 w 447"/>
                      <a:gd name="T101" fmla="*/ 376 h 443"/>
                      <a:gd name="T102" fmla="*/ 14 w 447"/>
                      <a:gd name="T103" fmla="*/ 431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7" h="443">
                        <a:moveTo>
                          <a:pt x="447" y="443"/>
                        </a:moveTo>
                        <a:lnTo>
                          <a:pt x="0" y="443"/>
                        </a:lnTo>
                        <a:lnTo>
                          <a:pt x="2" y="437"/>
                        </a:lnTo>
                        <a:lnTo>
                          <a:pt x="2" y="437"/>
                        </a:lnTo>
                        <a:lnTo>
                          <a:pt x="3" y="418"/>
                        </a:lnTo>
                        <a:lnTo>
                          <a:pt x="3" y="418"/>
                        </a:lnTo>
                        <a:lnTo>
                          <a:pt x="6" y="375"/>
                        </a:lnTo>
                        <a:lnTo>
                          <a:pt x="6" y="375"/>
                        </a:lnTo>
                        <a:lnTo>
                          <a:pt x="8" y="365"/>
                        </a:lnTo>
                        <a:lnTo>
                          <a:pt x="11" y="356"/>
                        </a:lnTo>
                        <a:lnTo>
                          <a:pt x="14" y="348"/>
                        </a:lnTo>
                        <a:lnTo>
                          <a:pt x="20" y="340"/>
                        </a:lnTo>
                        <a:lnTo>
                          <a:pt x="25" y="333"/>
                        </a:lnTo>
                        <a:lnTo>
                          <a:pt x="33" y="326"/>
                        </a:lnTo>
                        <a:lnTo>
                          <a:pt x="41" y="322"/>
                        </a:lnTo>
                        <a:lnTo>
                          <a:pt x="50" y="317"/>
                        </a:lnTo>
                        <a:lnTo>
                          <a:pt x="50" y="317"/>
                        </a:lnTo>
                        <a:lnTo>
                          <a:pt x="67" y="311"/>
                        </a:lnTo>
                        <a:lnTo>
                          <a:pt x="83" y="305"/>
                        </a:lnTo>
                        <a:lnTo>
                          <a:pt x="83" y="305"/>
                        </a:lnTo>
                        <a:lnTo>
                          <a:pt x="104" y="297"/>
                        </a:lnTo>
                        <a:lnTo>
                          <a:pt x="106" y="297"/>
                        </a:lnTo>
                        <a:lnTo>
                          <a:pt x="106" y="297"/>
                        </a:lnTo>
                        <a:lnTo>
                          <a:pt x="123" y="291"/>
                        </a:lnTo>
                        <a:lnTo>
                          <a:pt x="139" y="281"/>
                        </a:lnTo>
                        <a:lnTo>
                          <a:pt x="139" y="281"/>
                        </a:lnTo>
                        <a:lnTo>
                          <a:pt x="146" y="275"/>
                        </a:lnTo>
                        <a:lnTo>
                          <a:pt x="154" y="264"/>
                        </a:lnTo>
                        <a:lnTo>
                          <a:pt x="154" y="264"/>
                        </a:lnTo>
                        <a:lnTo>
                          <a:pt x="156" y="260"/>
                        </a:lnTo>
                        <a:lnTo>
                          <a:pt x="156" y="255"/>
                        </a:lnTo>
                        <a:lnTo>
                          <a:pt x="154" y="250"/>
                        </a:lnTo>
                        <a:lnTo>
                          <a:pt x="151" y="246"/>
                        </a:lnTo>
                        <a:lnTo>
                          <a:pt x="151" y="246"/>
                        </a:lnTo>
                        <a:lnTo>
                          <a:pt x="134" y="228"/>
                        </a:lnTo>
                        <a:lnTo>
                          <a:pt x="118" y="207"/>
                        </a:lnTo>
                        <a:lnTo>
                          <a:pt x="118" y="207"/>
                        </a:lnTo>
                        <a:lnTo>
                          <a:pt x="107" y="193"/>
                        </a:lnTo>
                        <a:lnTo>
                          <a:pt x="104" y="185"/>
                        </a:lnTo>
                        <a:lnTo>
                          <a:pt x="101" y="177"/>
                        </a:lnTo>
                        <a:lnTo>
                          <a:pt x="100" y="168"/>
                        </a:lnTo>
                        <a:lnTo>
                          <a:pt x="98" y="159"/>
                        </a:lnTo>
                        <a:lnTo>
                          <a:pt x="100" y="149"/>
                        </a:lnTo>
                        <a:lnTo>
                          <a:pt x="103" y="138"/>
                        </a:lnTo>
                        <a:lnTo>
                          <a:pt x="103" y="138"/>
                        </a:lnTo>
                        <a:lnTo>
                          <a:pt x="104" y="131"/>
                        </a:lnTo>
                        <a:lnTo>
                          <a:pt x="104" y="120"/>
                        </a:lnTo>
                        <a:lnTo>
                          <a:pt x="104" y="120"/>
                        </a:lnTo>
                        <a:lnTo>
                          <a:pt x="104" y="112"/>
                        </a:lnTo>
                        <a:lnTo>
                          <a:pt x="106" y="103"/>
                        </a:lnTo>
                        <a:lnTo>
                          <a:pt x="106" y="103"/>
                        </a:lnTo>
                        <a:lnTo>
                          <a:pt x="112" y="76"/>
                        </a:lnTo>
                        <a:lnTo>
                          <a:pt x="120" y="54"/>
                        </a:lnTo>
                        <a:lnTo>
                          <a:pt x="120" y="54"/>
                        </a:lnTo>
                        <a:lnTo>
                          <a:pt x="123" y="48"/>
                        </a:lnTo>
                        <a:lnTo>
                          <a:pt x="128" y="42"/>
                        </a:lnTo>
                        <a:lnTo>
                          <a:pt x="134" y="36"/>
                        </a:lnTo>
                        <a:lnTo>
                          <a:pt x="142" y="31"/>
                        </a:lnTo>
                        <a:lnTo>
                          <a:pt x="142" y="31"/>
                        </a:lnTo>
                        <a:lnTo>
                          <a:pt x="165" y="19"/>
                        </a:lnTo>
                        <a:lnTo>
                          <a:pt x="187" y="9"/>
                        </a:lnTo>
                        <a:lnTo>
                          <a:pt x="212" y="3"/>
                        </a:lnTo>
                        <a:lnTo>
                          <a:pt x="235" y="0"/>
                        </a:lnTo>
                        <a:lnTo>
                          <a:pt x="235" y="0"/>
                        </a:lnTo>
                        <a:lnTo>
                          <a:pt x="252" y="0"/>
                        </a:lnTo>
                        <a:lnTo>
                          <a:pt x="261" y="2"/>
                        </a:lnTo>
                        <a:lnTo>
                          <a:pt x="271" y="5"/>
                        </a:lnTo>
                        <a:lnTo>
                          <a:pt x="280" y="8"/>
                        </a:lnTo>
                        <a:lnTo>
                          <a:pt x="288" y="14"/>
                        </a:lnTo>
                        <a:lnTo>
                          <a:pt x="296" y="22"/>
                        </a:lnTo>
                        <a:lnTo>
                          <a:pt x="303" y="31"/>
                        </a:lnTo>
                        <a:lnTo>
                          <a:pt x="303" y="31"/>
                        </a:lnTo>
                        <a:lnTo>
                          <a:pt x="305" y="34"/>
                        </a:lnTo>
                        <a:lnTo>
                          <a:pt x="305" y="34"/>
                        </a:lnTo>
                        <a:lnTo>
                          <a:pt x="314" y="37"/>
                        </a:lnTo>
                        <a:lnTo>
                          <a:pt x="322" y="42"/>
                        </a:lnTo>
                        <a:lnTo>
                          <a:pt x="328" y="47"/>
                        </a:lnTo>
                        <a:lnTo>
                          <a:pt x="333" y="53"/>
                        </a:lnTo>
                        <a:lnTo>
                          <a:pt x="336" y="61"/>
                        </a:lnTo>
                        <a:lnTo>
                          <a:pt x="339" y="67"/>
                        </a:lnTo>
                        <a:lnTo>
                          <a:pt x="342" y="81"/>
                        </a:lnTo>
                        <a:lnTo>
                          <a:pt x="342" y="81"/>
                        </a:lnTo>
                        <a:lnTo>
                          <a:pt x="345" y="96"/>
                        </a:lnTo>
                        <a:lnTo>
                          <a:pt x="345" y="113"/>
                        </a:lnTo>
                        <a:lnTo>
                          <a:pt x="345" y="115"/>
                        </a:lnTo>
                        <a:lnTo>
                          <a:pt x="345" y="115"/>
                        </a:lnTo>
                        <a:lnTo>
                          <a:pt x="345" y="134"/>
                        </a:lnTo>
                        <a:lnTo>
                          <a:pt x="345" y="143"/>
                        </a:lnTo>
                        <a:lnTo>
                          <a:pt x="347" y="152"/>
                        </a:lnTo>
                        <a:lnTo>
                          <a:pt x="347" y="152"/>
                        </a:lnTo>
                        <a:lnTo>
                          <a:pt x="349" y="160"/>
                        </a:lnTo>
                        <a:lnTo>
                          <a:pt x="349" y="168"/>
                        </a:lnTo>
                        <a:lnTo>
                          <a:pt x="347" y="176"/>
                        </a:lnTo>
                        <a:lnTo>
                          <a:pt x="344" y="183"/>
                        </a:lnTo>
                        <a:lnTo>
                          <a:pt x="336" y="197"/>
                        </a:lnTo>
                        <a:lnTo>
                          <a:pt x="327" y="210"/>
                        </a:lnTo>
                        <a:lnTo>
                          <a:pt x="327" y="210"/>
                        </a:lnTo>
                        <a:lnTo>
                          <a:pt x="302" y="241"/>
                        </a:lnTo>
                        <a:lnTo>
                          <a:pt x="302" y="241"/>
                        </a:lnTo>
                        <a:lnTo>
                          <a:pt x="297" y="247"/>
                        </a:lnTo>
                        <a:lnTo>
                          <a:pt x="297" y="247"/>
                        </a:lnTo>
                        <a:lnTo>
                          <a:pt x="289" y="256"/>
                        </a:lnTo>
                        <a:lnTo>
                          <a:pt x="289" y="256"/>
                        </a:lnTo>
                        <a:lnTo>
                          <a:pt x="285" y="261"/>
                        </a:lnTo>
                        <a:lnTo>
                          <a:pt x="285" y="264"/>
                        </a:lnTo>
                        <a:lnTo>
                          <a:pt x="285" y="264"/>
                        </a:lnTo>
                        <a:lnTo>
                          <a:pt x="286" y="267"/>
                        </a:lnTo>
                        <a:lnTo>
                          <a:pt x="289" y="270"/>
                        </a:lnTo>
                        <a:lnTo>
                          <a:pt x="289" y="270"/>
                        </a:lnTo>
                        <a:lnTo>
                          <a:pt x="305" y="281"/>
                        </a:lnTo>
                        <a:lnTo>
                          <a:pt x="325" y="291"/>
                        </a:lnTo>
                        <a:lnTo>
                          <a:pt x="325" y="291"/>
                        </a:lnTo>
                        <a:lnTo>
                          <a:pt x="364" y="305"/>
                        </a:lnTo>
                        <a:lnTo>
                          <a:pt x="364" y="305"/>
                        </a:lnTo>
                        <a:lnTo>
                          <a:pt x="395" y="316"/>
                        </a:lnTo>
                        <a:lnTo>
                          <a:pt x="395" y="316"/>
                        </a:lnTo>
                        <a:lnTo>
                          <a:pt x="408" y="322"/>
                        </a:lnTo>
                        <a:lnTo>
                          <a:pt x="419" y="330"/>
                        </a:lnTo>
                        <a:lnTo>
                          <a:pt x="426" y="337"/>
                        </a:lnTo>
                        <a:lnTo>
                          <a:pt x="434" y="347"/>
                        </a:lnTo>
                        <a:lnTo>
                          <a:pt x="440" y="358"/>
                        </a:lnTo>
                        <a:lnTo>
                          <a:pt x="443" y="368"/>
                        </a:lnTo>
                        <a:lnTo>
                          <a:pt x="445" y="382"/>
                        </a:lnTo>
                        <a:lnTo>
                          <a:pt x="445" y="396"/>
                        </a:lnTo>
                        <a:lnTo>
                          <a:pt x="445" y="396"/>
                        </a:lnTo>
                        <a:lnTo>
                          <a:pt x="445" y="424"/>
                        </a:lnTo>
                        <a:lnTo>
                          <a:pt x="445" y="424"/>
                        </a:lnTo>
                        <a:lnTo>
                          <a:pt x="447" y="437"/>
                        </a:lnTo>
                        <a:lnTo>
                          <a:pt x="447" y="443"/>
                        </a:lnTo>
                        <a:close/>
                        <a:moveTo>
                          <a:pt x="14" y="431"/>
                        </a:moveTo>
                        <a:lnTo>
                          <a:pt x="434" y="431"/>
                        </a:lnTo>
                        <a:lnTo>
                          <a:pt x="434" y="431"/>
                        </a:lnTo>
                        <a:lnTo>
                          <a:pt x="434" y="424"/>
                        </a:lnTo>
                        <a:lnTo>
                          <a:pt x="434" y="424"/>
                        </a:lnTo>
                        <a:lnTo>
                          <a:pt x="434" y="395"/>
                        </a:lnTo>
                        <a:lnTo>
                          <a:pt x="434" y="395"/>
                        </a:lnTo>
                        <a:lnTo>
                          <a:pt x="434" y="384"/>
                        </a:lnTo>
                        <a:lnTo>
                          <a:pt x="431" y="371"/>
                        </a:lnTo>
                        <a:lnTo>
                          <a:pt x="428" y="362"/>
                        </a:lnTo>
                        <a:lnTo>
                          <a:pt x="423" y="353"/>
                        </a:lnTo>
                        <a:lnTo>
                          <a:pt x="419" y="345"/>
                        </a:lnTo>
                        <a:lnTo>
                          <a:pt x="411" y="339"/>
                        </a:lnTo>
                        <a:lnTo>
                          <a:pt x="401" y="333"/>
                        </a:lnTo>
                        <a:lnTo>
                          <a:pt x="391" y="328"/>
                        </a:lnTo>
                        <a:lnTo>
                          <a:pt x="391" y="328"/>
                        </a:lnTo>
                        <a:lnTo>
                          <a:pt x="359" y="316"/>
                        </a:lnTo>
                        <a:lnTo>
                          <a:pt x="359" y="316"/>
                        </a:lnTo>
                        <a:lnTo>
                          <a:pt x="321" y="302"/>
                        </a:lnTo>
                        <a:lnTo>
                          <a:pt x="321" y="302"/>
                        </a:lnTo>
                        <a:lnTo>
                          <a:pt x="299" y="292"/>
                        </a:lnTo>
                        <a:lnTo>
                          <a:pt x="282" y="280"/>
                        </a:lnTo>
                        <a:lnTo>
                          <a:pt x="282" y="280"/>
                        </a:lnTo>
                        <a:lnTo>
                          <a:pt x="275" y="274"/>
                        </a:lnTo>
                        <a:lnTo>
                          <a:pt x="272" y="270"/>
                        </a:lnTo>
                        <a:lnTo>
                          <a:pt x="272" y="266"/>
                        </a:lnTo>
                        <a:lnTo>
                          <a:pt x="272" y="266"/>
                        </a:lnTo>
                        <a:lnTo>
                          <a:pt x="272" y="261"/>
                        </a:lnTo>
                        <a:lnTo>
                          <a:pt x="274" y="256"/>
                        </a:lnTo>
                        <a:lnTo>
                          <a:pt x="280" y="249"/>
                        </a:lnTo>
                        <a:lnTo>
                          <a:pt x="280" y="249"/>
                        </a:lnTo>
                        <a:lnTo>
                          <a:pt x="288" y="239"/>
                        </a:lnTo>
                        <a:lnTo>
                          <a:pt x="288" y="239"/>
                        </a:lnTo>
                        <a:lnTo>
                          <a:pt x="293" y="233"/>
                        </a:lnTo>
                        <a:lnTo>
                          <a:pt x="293" y="233"/>
                        </a:lnTo>
                        <a:lnTo>
                          <a:pt x="317" y="202"/>
                        </a:lnTo>
                        <a:lnTo>
                          <a:pt x="317" y="202"/>
                        </a:lnTo>
                        <a:lnTo>
                          <a:pt x="325" y="191"/>
                        </a:lnTo>
                        <a:lnTo>
                          <a:pt x="333" y="180"/>
                        </a:lnTo>
                        <a:lnTo>
                          <a:pt x="335" y="174"/>
                        </a:lnTo>
                        <a:lnTo>
                          <a:pt x="336" y="168"/>
                        </a:lnTo>
                        <a:lnTo>
                          <a:pt x="336" y="162"/>
                        </a:lnTo>
                        <a:lnTo>
                          <a:pt x="336" y="155"/>
                        </a:lnTo>
                        <a:lnTo>
                          <a:pt x="336" y="155"/>
                        </a:lnTo>
                        <a:lnTo>
                          <a:pt x="333" y="145"/>
                        </a:lnTo>
                        <a:lnTo>
                          <a:pt x="333" y="135"/>
                        </a:lnTo>
                        <a:lnTo>
                          <a:pt x="333" y="115"/>
                        </a:lnTo>
                        <a:lnTo>
                          <a:pt x="333" y="113"/>
                        </a:lnTo>
                        <a:lnTo>
                          <a:pt x="333" y="113"/>
                        </a:lnTo>
                        <a:lnTo>
                          <a:pt x="333" y="96"/>
                        </a:lnTo>
                        <a:lnTo>
                          <a:pt x="331" y="82"/>
                        </a:lnTo>
                        <a:lnTo>
                          <a:pt x="331" y="82"/>
                        </a:lnTo>
                        <a:lnTo>
                          <a:pt x="327" y="68"/>
                        </a:lnTo>
                        <a:lnTo>
                          <a:pt x="321" y="57"/>
                        </a:lnTo>
                        <a:lnTo>
                          <a:pt x="317" y="53"/>
                        </a:lnTo>
                        <a:lnTo>
                          <a:pt x="313" y="50"/>
                        </a:lnTo>
                        <a:lnTo>
                          <a:pt x="302" y="45"/>
                        </a:lnTo>
                        <a:lnTo>
                          <a:pt x="302" y="45"/>
                        </a:lnTo>
                        <a:lnTo>
                          <a:pt x="296" y="42"/>
                        </a:lnTo>
                        <a:lnTo>
                          <a:pt x="293" y="37"/>
                        </a:lnTo>
                        <a:lnTo>
                          <a:pt x="293" y="37"/>
                        </a:lnTo>
                        <a:lnTo>
                          <a:pt x="288" y="31"/>
                        </a:lnTo>
                        <a:lnTo>
                          <a:pt x="283" y="25"/>
                        </a:lnTo>
                        <a:lnTo>
                          <a:pt x="277" y="20"/>
                        </a:lnTo>
                        <a:lnTo>
                          <a:pt x="271" y="17"/>
                        </a:lnTo>
                        <a:lnTo>
                          <a:pt x="263" y="14"/>
                        </a:lnTo>
                        <a:lnTo>
                          <a:pt x="255" y="12"/>
                        </a:lnTo>
                        <a:lnTo>
                          <a:pt x="246" y="12"/>
                        </a:lnTo>
                        <a:lnTo>
                          <a:pt x="237" y="12"/>
                        </a:lnTo>
                        <a:lnTo>
                          <a:pt x="237" y="12"/>
                        </a:lnTo>
                        <a:lnTo>
                          <a:pt x="213" y="16"/>
                        </a:lnTo>
                        <a:lnTo>
                          <a:pt x="191" y="20"/>
                        </a:lnTo>
                        <a:lnTo>
                          <a:pt x="170" y="30"/>
                        </a:lnTo>
                        <a:lnTo>
                          <a:pt x="148" y="40"/>
                        </a:lnTo>
                        <a:lnTo>
                          <a:pt x="148" y="40"/>
                        </a:lnTo>
                        <a:lnTo>
                          <a:pt x="137" y="50"/>
                        </a:lnTo>
                        <a:lnTo>
                          <a:pt x="134" y="54"/>
                        </a:lnTo>
                        <a:lnTo>
                          <a:pt x="131" y="59"/>
                        </a:lnTo>
                        <a:lnTo>
                          <a:pt x="131" y="59"/>
                        </a:lnTo>
                        <a:lnTo>
                          <a:pt x="125" y="79"/>
                        </a:lnTo>
                        <a:lnTo>
                          <a:pt x="118" y="106"/>
                        </a:lnTo>
                        <a:lnTo>
                          <a:pt x="118" y="106"/>
                        </a:lnTo>
                        <a:lnTo>
                          <a:pt x="117" y="112"/>
                        </a:lnTo>
                        <a:lnTo>
                          <a:pt x="117" y="120"/>
                        </a:lnTo>
                        <a:lnTo>
                          <a:pt x="117" y="120"/>
                        </a:lnTo>
                        <a:lnTo>
                          <a:pt x="117" y="132"/>
                        </a:lnTo>
                        <a:lnTo>
                          <a:pt x="117" y="137"/>
                        </a:lnTo>
                        <a:lnTo>
                          <a:pt x="115" y="143"/>
                        </a:lnTo>
                        <a:lnTo>
                          <a:pt x="115" y="143"/>
                        </a:lnTo>
                        <a:lnTo>
                          <a:pt x="112" y="151"/>
                        </a:lnTo>
                        <a:lnTo>
                          <a:pt x="111" y="159"/>
                        </a:lnTo>
                        <a:lnTo>
                          <a:pt x="111" y="165"/>
                        </a:lnTo>
                        <a:lnTo>
                          <a:pt x="112" y="173"/>
                        </a:lnTo>
                        <a:lnTo>
                          <a:pt x="115" y="179"/>
                        </a:lnTo>
                        <a:lnTo>
                          <a:pt x="118" y="185"/>
                        </a:lnTo>
                        <a:lnTo>
                          <a:pt x="128" y="200"/>
                        </a:lnTo>
                        <a:lnTo>
                          <a:pt x="128" y="200"/>
                        </a:lnTo>
                        <a:lnTo>
                          <a:pt x="143" y="221"/>
                        </a:lnTo>
                        <a:lnTo>
                          <a:pt x="160" y="238"/>
                        </a:lnTo>
                        <a:lnTo>
                          <a:pt x="160" y="238"/>
                        </a:lnTo>
                        <a:lnTo>
                          <a:pt x="165" y="246"/>
                        </a:lnTo>
                        <a:lnTo>
                          <a:pt x="168" y="253"/>
                        </a:lnTo>
                        <a:lnTo>
                          <a:pt x="168" y="263"/>
                        </a:lnTo>
                        <a:lnTo>
                          <a:pt x="165" y="270"/>
                        </a:lnTo>
                        <a:lnTo>
                          <a:pt x="165" y="270"/>
                        </a:lnTo>
                        <a:lnTo>
                          <a:pt x="157" y="281"/>
                        </a:lnTo>
                        <a:lnTo>
                          <a:pt x="151" y="288"/>
                        </a:lnTo>
                        <a:lnTo>
                          <a:pt x="145" y="292"/>
                        </a:lnTo>
                        <a:lnTo>
                          <a:pt x="145" y="292"/>
                        </a:lnTo>
                        <a:lnTo>
                          <a:pt x="128" y="302"/>
                        </a:lnTo>
                        <a:lnTo>
                          <a:pt x="111" y="308"/>
                        </a:lnTo>
                        <a:lnTo>
                          <a:pt x="109" y="308"/>
                        </a:lnTo>
                        <a:lnTo>
                          <a:pt x="109" y="308"/>
                        </a:lnTo>
                        <a:lnTo>
                          <a:pt x="87" y="316"/>
                        </a:lnTo>
                        <a:lnTo>
                          <a:pt x="87" y="316"/>
                        </a:lnTo>
                        <a:lnTo>
                          <a:pt x="70" y="322"/>
                        </a:lnTo>
                        <a:lnTo>
                          <a:pt x="55" y="328"/>
                        </a:lnTo>
                        <a:lnTo>
                          <a:pt x="55" y="328"/>
                        </a:lnTo>
                        <a:lnTo>
                          <a:pt x="47" y="331"/>
                        </a:lnTo>
                        <a:lnTo>
                          <a:pt x="41" y="336"/>
                        </a:lnTo>
                        <a:lnTo>
                          <a:pt x="34" y="342"/>
                        </a:lnTo>
                        <a:lnTo>
                          <a:pt x="30" y="347"/>
                        </a:lnTo>
                        <a:lnTo>
                          <a:pt x="25" y="353"/>
                        </a:lnTo>
                        <a:lnTo>
                          <a:pt x="22" y="361"/>
                        </a:lnTo>
                        <a:lnTo>
                          <a:pt x="19" y="368"/>
                        </a:lnTo>
                        <a:lnTo>
                          <a:pt x="17" y="376"/>
                        </a:lnTo>
                        <a:lnTo>
                          <a:pt x="17" y="376"/>
                        </a:lnTo>
                        <a:lnTo>
                          <a:pt x="14" y="418"/>
                        </a:lnTo>
                        <a:lnTo>
                          <a:pt x="14" y="418"/>
                        </a:lnTo>
                        <a:lnTo>
                          <a:pt x="14" y="431"/>
                        </a:lnTo>
                        <a:lnTo>
                          <a:pt x="14" y="431"/>
                        </a:ln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8" name="Group 17"/>
                <p:cNvGrpSpPr/>
                <p:nvPr/>
              </p:nvGrpSpPr>
              <p:grpSpPr>
                <a:xfrm>
                  <a:off x="-1824922" y="3267079"/>
                  <a:ext cx="506105" cy="595116"/>
                  <a:chOff x="7789863" y="4140200"/>
                  <a:chExt cx="315913" cy="371475"/>
                </a:xfrm>
                <a:solidFill>
                  <a:schemeClr val="accent1"/>
                </a:solidFill>
              </p:grpSpPr>
              <p:sp>
                <p:nvSpPr>
                  <p:cNvPr id="19" name="Freeform 234"/>
                  <p:cNvSpPr>
                    <a:spLocks noEditPoints="1"/>
                  </p:cNvSpPr>
                  <p:nvPr/>
                </p:nvSpPr>
                <p:spPr bwMode="auto">
                  <a:xfrm>
                    <a:off x="7867651" y="4175125"/>
                    <a:ext cx="200025" cy="171450"/>
                  </a:xfrm>
                  <a:custGeom>
                    <a:avLst/>
                    <a:gdLst>
                      <a:gd name="T0" fmla="*/ 249 w 254"/>
                      <a:gd name="T1" fmla="*/ 93 h 216"/>
                      <a:gd name="T2" fmla="*/ 232 w 254"/>
                      <a:gd name="T3" fmla="*/ 64 h 216"/>
                      <a:gd name="T4" fmla="*/ 212 w 254"/>
                      <a:gd name="T5" fmla="*/ 45 h 216"/>
                      <a:gd name="T6" fmla="*/ 208 w 254"/>
                      <a:gd name="T7" fmla="*/ 36 h 216"/>
                      <a:gd name="T8" fmla="*/ 188 w 254"/>
                      <a:gd name="T9" fmla="*/ 26 h 216"/>
                      <a:gd name="T10" fmla="*/ 176 w 254"/>
                      <a:gd name="T11" fmla="*/ 16 h 216"/>
                      <a:gd name="T12" fmla="*/ 155 w 254"/>
                      <a:gd name="T13" fmla="*/ 12 h 216"/>
                      <a:gd name="T14" fmla="*/ 126 w 254"/>
                      <a:gd name="T15" fmla="*/ 8 h 216"/>
                      <a:gd name="T16" fmla="*/ 109 w 254"/>
                      <a:gd name="T17" fmla="*/ 0 h 216"/>
                      <a:gd name="T18" fmla="*/ 80 w 254"/>
                      <a:gd name="T19" fmla="*/ 10 h 216"/>
                      <a:gd name="T20" fmla="*/ 54 w 254"/>
                      <a:gd name="T21" fmla="*/ 21 h 216"/>
                      <a:gd name="T22" fmla="*/ 24 w 254"/>
                      <a:gd name="T23" fmla="*/ 40 h 216"/>
                      <a:gd name="T24" fmla="*/ 10 w 254"/>
                      <a:gd name="T25" fmla="*/ 72 h 216"/>
                      <a:gd name="T26" fmla="*/ 3 w 254"/>
                      <a:gd name="T27" fmla="*/ 93 h 216"/>
                      <a:gd name="T28" fmla="*/ 0 w 254"/>
                      <a:gd name="T29" fmla="*/ 119 h 216"/>
                      <a:gd name="T30" fmla="*/ 19 w 254"/>
                      <a:gd name="T31" fmla="*/ 147 h 216"/>
                      <a:gd name="T32" fmla="*/ 35 w 254"/>
                      <a:gd name="T33" fmla="*/ 162 h 216"/>
                      <a:gd name="T34" fmla="*/ 54 w 254"/>
                      <a:gd name="T35" fmla="*/ 165 h 216"/>
                      <a:gd name="T36" fmla="*/ 75 w 254"/>
                      <a:gd name="T37" fmla="*/ 178 h 216"/>
                      <a:gd name="T38" fmla="*/ 91 w 254"/>
                      <a:gd name="T39" fmla="*/ 170 h 216"/>
                      <a:gd name="T40" fmla="*/ 102 w 254"/>
                      <a:gd name="T41" fmla="*/ 178 h 216"/>
                      <a:gd name="T42" fmla="*/ 136 w 254"/>
                      <a:gd name="T43" fmla="*/ 171 h 216"/>
                      <a:gd name="T44" fmla="*/ 141 w 254"/>
                      <a:gd name="T45" fmla="*/ 189 h 216"/>
                      <a:gd name="T46" fmla="*/ 157 w 254"/>
                      <a:gd name="T47" fmla="*/ 197 h 216"/>
                      <a:gd name="T48" fmla="*/ 176 w 254"/>
                      <a:gd name="T49" fmla="*/ 213 h 216"/>
                      <a:gd name="T50" fmla="*/ 192 w 254"/>
                      <a:gd name="T51" fmla="*/ 214 h 216"/>
                      <a:gd name="T52" fmla="*/ 211 w 254"/>
                      <a:gd name="T53" fmla="*/ 194 h 216"/>
                      <a:gd name="T54" fmla="*/ 238 w 254"/>
                      <a:gd name="T55" fmla="*/ 184 h 216"/>
                      <a:gd name="T56" fmla="*/ 241 w 254"/>
                      <a:gd name="T57" fmla="*/ 168 h 216"/>
                      <a:gd name="T58" fmla="*/ 251 w 254"/>
                      <a:gd name="T59" fmla="*/ 141 h 216"/>
                      <a:gd name="T60" fmla="*/ 254 w 254"/>
                      <a:gd name="T61" fmla="*/ 125 h 216"/>
                      <a:gd name="T62" fmla="*/ 230 w 254"/>
                      <a:gd name="T63" fmla="*/ 143 h 216"/>
                      <a:gd name="T64" fmla="*/ 222 w 254"/>
                      <a:gd name="T65" fmla="*/ 168 h 216"/>
                      <a:gd name="T66" fmla="*/ 193 w 254"/>
                      <a:gd name="T67" fmla="*/ 184 h 216"/>
                      <a:gd name="T68" fmla="*/ 181 w 254"/>
                      <a:gd name="T69" fmla="*/ 192 h 216"/>
                      <a:gd name="T70" fmla="*/ 169 w 254"/>
                      <a:gd name="T71" fmla="*/ 179 h 216"/>
                      <a:gd name="T72" fmla="*/ 155 w 254"/>
                      <a:gd name="T73" fmla="*/ 159 h 216"/>
                      <a:gd name="T74" fmla="*/ 144 w 254"/>
                      <a:gd name="T75" fmla="*/ 152 h 216"/>
                      <a:gd name="T76" fmla="*/ 110 w 254"/>
                      <a:gd name="T77" fmla="*/ 160 h 216"/>
                      <a:gd name="T78" fmla="*/ 101 w 254"/>
                      <a:gd name="T79" fmla="*/ 154 h 216"/>
                      <a:gd name="T80" fmla="*/ 80 w 254"/>
                      <a:gd name="T81" fmla="*/ 154 h 216"/>
                      <a:gd name="T82" fmla="*/ 73 w 254"/>
                      <a:gd name="T83" fmla="*/ 155 h 216"/>
                      <a:gd name="T84" fmla="*/ 45 w 254"/>
                      <a:gd name="T85" fmla="*/ 141 h 216"/>
                      <a:gd name="T86" fmla="*/ 35 w 254"/>
                      <a:gd name="T87" fmla="*/ 138 h 216"/>
                      <a:gd name="T88" fmla="*/ 19 w 254"/>
                      <a:gd name="T89" fmla="*/ 114 h 216"/>
                      <a:gd name="T90" fmla="*/ 22 w 254"/>
                      <a:gd name="T91" fmla="*/ 91 h 216"/>
                      <a:gd name="T92" fmla="*/ 22 w 254"/>
                      <a:gd name="T93" fmla="*/ 85 h 216"/>
                      <a:gd name="T94" fmla="*/ 38 w 254"/>
                      <a:gd name="T95" fmla="*/ 53 h 216"/>
                      <a:gd name="T96" fmla="*/ 72 w 254"/>
                      <a:gd name="T97" fmla="*/ 31 h 216"/>
                      <a:gd name="T98" fmla="*/ 105 w 254"/>
                      <a:gd name="T99" fmla="*/ 20 h 216"/>
                      <a:gd name="T100" fmla="*/ 128 w 254"/>
                      <a:gd name="T101" fmla="*/ 28 h 216"/>
                      <a:gd name="T102" fmla="*/ 144 w 254"/>
                      <a:gd name="T103" fmla="*/ 31 h 216"/>
                      <a:gd name="T104" fmla="*/ 163 w 254"/>
                      <a:gd name="T105" fmla="*/ 32 h 216"/>
                      <a:gd name="T106" fmla="*/ 173 w 254"/>
                      <a:gd name="T107" fmla="*/ 37 h 216"/>
                      <a:gd name="T108" fmla="*/ 190 w 254"/>
                      <a:gd name="T109" fmla="*/ 45 h 216"/>
                      <a:gd name="T110" fmla="*/ 195 w 254"/>
                      <a:gd name="T111" fmla="*/ 52 h 216"/>
                      <a:gd name="T112" fmla="*/ 212 w 254"/>
                      <a:gd name="T113" fmla="*/ 64 h 216"/>
                      <a:gd name="T114" fmla="*/ 224 w 254"/>
                      <a:gd name="T115" fmla="*/ 83 h 216"/>
                      <a:gd name="T116" fmla="*/ 228 w 254"/>
                      <a:gd name="T117" fmla="*/ 104 h 216"/>
                      <a:gd name="T118" fmla="*/ 235 w 254"/>
                      <a:gd name="T119" fmla="*/ 119 h 216"/>
                      <a:gd name="T120" fmla="*/ 230 w 254"/>
                      <a:gd name="T121" fmla="*/ 14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4" h="216">
                        <a:moveTo>
                          <a:pt x="248" y="103"/>
                        </a:moveTo>
                        <a:lnTo>
                          <a:pt x="248" y="103"/>
                        </a:lnTo>
                        <a:lnTo>
                          <a:pt x="248" y="101"/>
                        </a:lnTo>
                        <a:lnTo>
                          <a:pt x="248" y="101"/>
                        </a:lnTo>
                        <a:lnTo>
                          <a:pt x="249" y="93"/>
                        </a:lnTo>
                        <a:lnTo>
                          <a:pt x="249" y="93"/>
                        </a:lnTo>
                        <a:lnTo>
                          <a:pt x="248" y="87"/>
                        </a:lnTo>
                        <a:lnTo>
                          <a:pt x="244" y="80"/>
                        </a:lnTo>
                        <a:lnTo>
                          <a:pt x="241" y="74"/>
                        </a:lnTo>
                        <a:lnTo>
                          <a:pt x="236" y="69"/>
                        </a:lnTo>
                        <a:lnTo>
                          <a:pt x="236" y="69"/>
                        </a:lnTo>
                        <a:lnTo>
                          <a:pt x="232" y="64"/>
                        </a:lnTo>
                        <a:lnTo>
                          <a:pt x="232" y="64"/>
                        </a:lnTo>
                        <a:lnTo>
                          <a:pt x="230" y="58"/>
                        </a:lnTo>
                        <a:lnTo>
                          <a:pt x="227" y="52"/>
                        </a:lnTo>
                        <a:lnTo>
                          <a:pt x="220" y="47"/>
                        </a:lnTo>
                        <a:lnTo>
                          <a:pt x="212" y="45"/>
                        </a:lnTo>
                        <a:lnTo>
                          <a:pt x="212" y="45"/>
                        </a:lnTo>
                        <a:lnTo>
                          <a:pt x="212" y="45"/>
                        </a:lnTo>
                        <a:lnTo>
                          <a:pt x="212" y="45"/>
                        </a:lnTo>
                        <a:lnTo>
                          <a:pt x="211" y="42"/>
                        </a:lnTo>
                        <a:lnTo>
                          <a:pt x="208" y="37"/>
                        </a:lnTo>
                        <a:lnTo>
                          <a:pt x="208" y="37"/>
                        </a:lnTo>
                        <a:lnTo>
                          <a:pt x="208" y="36"/>
                        </a:lnTo>
                        <a:lnTo>
                          <a:pt x="208" y="36"/>
                        </a:lnTo>
                        <a:lnTo>
                          <a:pt x="201" y="29"/>
                        </a:lnTo>
                        <a:lnTo>
                          <a:pt x="196" y="28"/>
                        </a:lnTo>
                        <a:lnTo>
                          <a:pt x="192" y="26"/>
                        </a:lnTo>
                        <a:lnTo>
                          <a:pt x="192" y="26"/>
                        </a:lnTo>
                        <a:lnTo>
                          <a:pt x="188" y="26"/>
                        </a:lnTo>
                        <a:lnTo>
                          <a:pt x="188" y="26"/>
                        </a:lnTo>
                        <a:lnTo>
                          <a:pt x="184" y="21"/>
                        </a:lnTo>
                        <a:lnTo>
                          <a:pt x="182" y="20"/>
                        </a:lnTo>
                        <a:lnTo>
                          <a:pt x="177" y="18"/>
                        </a:lnTo>
                        <a:lnTo>
                          <a:pt x="177" y="18"/>
                        </a:lnTo>
                        <a:lnTo>
                          <a:pt x="176" y="16"/>
                        </a:lnTo>
                        <a:lnTo>
                          <a:pt x="176" y="16"/>
                        </a:lnTo>
                        <a:lnTo>
                          <a:pt x="168" y="15"/>
                        </a:lnTo>
                        <a:lnTo>
                          <a:pt x="161" y="13"/>
                        </a:lnTo>
                        <a:lnTo>
                          <a:pt x="157" y="15"/>
                        </a:lnTo>
                        <a:lnTo>
                          <a:pt x="157" y="15"/>
                        </a:lnTo>
                        <a:lnTo>
                          <a:pt x="155" y="12"/>
                        </a:lnTo>
                        <a:lnTo>
                          <a:pt x="153" y="8"/>
                        </a:lnTo>
                        <a:lnTo>
                          <a:pt x="153" y="8"/>
                        </a:lnTo>
                        <a:lnTo>
                          <a:pt x="147" y="5"/>
                        </a:lnTo>
                        <a:lnTo>
                          <a:pt x="141" y="4"/>
                        </a:lnTo>
                        <a:lnTo>
                          <a:pt x="133" y="5"/>
                        </a:lnTo>
                        <a:lnTo>
                          <a:pt x="126" y="8"/>
                        </a:lnTo>
                        <a:lnTo>
                          <a:pt x="126" y="8"/>
                        </a:lnTo>
                        <a:lnTo>
                          <a:pt x="123" y="5"/>
                        </a:lnTo>
                        <a:lnTo>
                          <a:pt x="123" y="5"/>
                        </a:lnTo>
                        <a:lnTo>
                          <a:pt x="117" y="2"/>
                        </a:lnTo>
                        <a:lnTo>
                          <a:pt x="109" y="0"/>
                        </a:lnTo>
                        <a:lnTo>
                          <a:pt x="109" y="0"/>
                        </a:lnTo>
                        <a:lnTo>
                          <a:pt x="102" y="2"/>
                        </a:lnTo>
                        <a:lnTo>
                          <a:pt x="97" y="4"/>
                        </a:lnTo>
                        <a:lnTo>
                          <a:pt x="93" y="7"/>
                        </a:lnTo>
                        <a:lnTo>
                          <a:pt x="93" y="7"/>
                        </a:lnTo>
                        <a:lnTo>
                          <a:pt x="88" y="8"/>
                        </a:lnTo>
                        <a:lnTo>
                          <a:pt x="80" y="10"/>
                        </a:lnTo>
                        <a:lnTo>
                          <a:pt x="80" y="10"/>
                        </a:lnTo>
                        <a:lnTo>
                          <a:pt x="69" y="12"/>
                        </a:lnTo>
                        <a:lnTo>
                          <a:pt x="62" y="13"/>
                        </a:lnTo>
                        <a:lnTo>
                          <a:pt x="58" y="18"/>
                        </a:lnTo>
                        <a:lnTo>
                          <a:pt x="58" y="18"/>
                        </a:lnTo>
                        <a:lnTo>
                          <a:pt x="54" y="21"/>
                        </a:lnTo>
                        <a:lnTo>
                          <a:pt x="54" y="21"/>
                        </a:lnTo>
                        <a:lnTo>
                          <a:pt x="46" y="28"/>
                        </a:lnTo>
                        <a:lnTo>
                          <a:pt x="35" y="32"/>
                        </a:lnTo>
                        <a:lnTo>
                          <a:pt x="35" y="32"/>
                        </a:lnTo>
                        <a:lnTo>
                          <a:pt x="29" y="36"/>
                        </a:lnTo>
                        <a:lnTo>
                          <a:pt x="24" y="40"/>
                        </a:lnTo>
                        <a:lnTo>
                          <a:pt x="19" y="48"/>
                        </a:lnTo>
                        <a:lnTo>
                          <a:pt x="19" y="60"/>
                        </a:lnTo>
                        <a:lnTo>
                          <a:pt x="19" y="60"/>
                        </a:lnTo>
                        <a:lnTo>
                          <a:pt x="18" y="63"/>
                        </a:lnTo>
                        <a:lnTo>
                          <a:pt x="10" y="72"/>
                        </a:lnTo>
                        <a:lnTo>
                          <a:pt x="10" y="72"/>
                        </a:lnTo>
                        <a:lnTo>
                          <a:pt x="5" y="79"/>
                        </a:lnTo>
                        <a:lnTo>
                          <a:pt x="3" y="82"/>
                        </a:lnTo>
                        <a:lnTo>
                          <a:pt x="3" y="90"/>
                        </a:lnTo>
                        <a:lnTo>
                          <a:pt x="3" y="90"/>
                        </a:lnTo>
                        <a:lnTo>
                          <a:pt x="3" y="93"/>
                        </a:lnTo>
                        <a:lnTo>
                          <a:pt x="3" y="93"/>
                        </a:lnTo>
                        <a:lnTo>
                          <a:pt x="2" y="101"/>
                        </a:lnTo>
                        <a:lnTo>
                          <a:pt x="2" y="101"/>
                        </a:lnTo>
                        <a:lnTo>
                          <a:pt x="2" y="109"/>
                        </a:lnTo>
                        <a:lnTo>
                          <a:pt x="2" y="109"/>
                        </a:lnTo>
                        <a:lnTo>
                          <a:pt x="0" y="114"/>
                        </a:lnTo>
                        <a:lnTo>
                          <a:pt x="0" y="119"/>
                        </a:lnTo>
                        <a:lnTo>
                          <a:pt x="3" y="128"/>
                        </a:lnTo>
                        <a:lnTo>
                          <a:pt x="8" y="139"/>
                        </a:lnTo>
                        <a:lnTo>
                          <a:pt x="10" y="143"/>
                        </a:lnTo>
                        <a:lnTo>
                          <a:pt x="13" y="144"/>
                        </a:lnTo>
                        <a:lnTo>
                          <a:pt x="13" y="144"/>
                        </a:lnTo>
                        <a:lnTo>
                          <a:pt x="19" y="147"/>
                        </a:lnTo>
                        <a:lnTo>
                          <a:pt x="19" y="147"/>
                        </a:lnTo>
                        <a:lnTo>
                          <a:pt x="21" y="154"/>
                        </a:lnTo>
                        <a:lnTo>
                          <a:pt x="24" y="159"/>
                        </a:lnTo>
                        <a:lnTo>
                          <a:pt x="29" y="162"/>
                        </a:lnTo>
                        <a:lnTo>
                          <a:pt x="35" y="162"/>
                        </a:lnTo>
                        <a:lnTo>
                          <a:pt x="35" y="162"/>
                        </a:lnTo>
                        <a:lnTo>
                          <a:pt x="43" y="162"/>
                        </a:lnTo>
                        <a:lnTo>
                          <a:pt x="43" y="162"/>
                        </a:lnTo>
                        <a:lnTo>
                          <a:pt x="45" y="160"/>
                        </a:lnTo>
                        <a:lnTo>
                          <a:pt x="45" y="160"/>
                        </a:lnTo>
                        <a:lnTo>
                          <a:pt x="51" y="162"/>
                        </a:lnTo>
                        <a:lnTo>
                          <a:pt x="54" y="165"/>
                        </a:lnTo>
                        <a:lnTo>
                          <a:pt x="61" y="170"/>
                        </a:lnTo>
                        <a:lnTo>
                          <a:pt x="61" y="170"/>
                        </a:lnTo>
                        <a:lnTo>
                          <a:pt x="67" y="175"/>
                        </a:lnTo>
                        <a:lnTo>
                          <a:pt x="70" y="176"/>
                        </a:lnTo>
                        <a:lnTo>
                          <a:pt x="75" y="178"/>
                        </a:lnTo>
                        <a:lnTo>
                          <a:pt x="75" y="178"/>
                        </a:lnTo>
                        <a:lnTo>
                          <a:pt x="81" y="176"/>
                        </a:lnTo>
                        <a:lnTo>
                          <a:pt x="86" y="173"/>
                        </a:lnTo>
                        <a:lnTo>
                          <a:pt x="86" y="173"/>
                        </a:lnTo>
                        <a:lnTo>
                          <a:pt x="89" y="170"/>
                        </a:lnTo>
                        <a:lnTo>
                          <a:pt x="89" y="170"/>
                        </a:lnTo>
                        <a:lnTo>
                          <a:pt x="91" y="170"/>
                        </a:lnTo>
                        <a:lnTo>
                          <a:pt x="91" y="170"/>
                        </a:lnTo>
                        <a:lnTo>
                          <a:pt x="93" y="171"/>
                        </a:lnTo>
                        <a:lnTo>
                          <a:pt x="94" y="173"/>
                        </a:lnTo>
                        <a:lnTo>
                          <a:pt x="94" y="173"/>
                        </a:lnTo>
                        <a:lnTo>
                          <a:pt x="97" y="176"/>
                        </a:lnTo>
                        <a:lnTo>
                          <a:pt x="102" y="178"/>
                        </a:lnTo>
                        <a:lnTo>
                          <a:pt x="110" y="179"/>
                        </a:lnTo>
                        <a:lnTo>
                          <a:pt x="118" y="178"/>
                        </a:lnTo>
                        <a:lnTo>
                          <a:pt x="125" y="173"/>
                        </a:lnTo>
                        <a:lnTo>
                          <a:pt x="125" y="173"/>
                        </a:lnTo>
                        <a:lnTo>
                          <a:pt x="128" y="173"/>
                        </a:lnTo>
                        <a:lnTo>
                          <a:pt x="136" y="171"/>
                        </a:lnTo>
                        <a:lnTo>
                          <a:pt x="136" y="173"/>
                        </a:lnTo>
                        <a:lnTo>
                          <a:pt x="136" y="173"/>
                        </a:lnTo>
                        <a:lnTo>
                          <a:pt x="134" y="179"/>
                        </a:lnTo>
                        <a:lnTo>
                          <a:pt x="137" y="186"/>
                        </a:lnTo>
                        <a:lnTo>
                          <a:pt x="137" y="186"/>
                        </a:lnTo>
                        <a:lnTo>
                          <a:pt x="141" y="189"/>
                        </a:lnTo>
                        <a:lnTo>
                          <a:pt x="144" y="190"/>
                        </a:lnTo>
                        <a:lnTo>
                          <a:pt x="147" y="190"/>
                        </a:lnTo>
                        <a:lnTo>
                          <a:pt x="147" y="190"/>
                        </a:lnTo>
                        <a:lnTo>
                          <a:pt x="153" y="189"/>
                        </a:lnTo>
                        <a:lnTo>
                          <a:pt x="153" y="189"/>
                        </a:lnTo>
                        <a:lnTo>
                          <a:pt x="157" y="197"/>
                        </a:lnTo>
                        <a:lnTo>
                          <a:pt x="157" y="197"/>
                        </a:lnTo>
                        <a:lnTo>
                          <a:pt x="160" y="200"/>
                        </a:lnTo>
                        <a:lnTo>
                          <a:pt x="165" y="205"/>
                        </a:lnTo>
                        <a:lnTo>
                          <a:pt x="171" y="208"/>
                        </a:lnTo>
                        <a:lnTo>
                          <a:pt x="171" y="208"/>
                        </a:lnTo>
                        <a:lnTo>
                          <a:pt x="176" y="213"/>
                        </a:lnTo>
                        <a:lnTo>
                          <a:pt x="176" y="213"/>
                        </a:lnTo>
                        <a:lnTo>
                          <a:pt x="182" y="216"/>
                        </a:lnTo>
                        <a:lnTo>
                          <a:pt x="185" y="216"/>
                        </a:lnTo>
                        <a:lnTo>
                          <a:pt x="185" y="216"/>
                        </a:lnTo>
                        <a:lnTo>
                          <a:pt x="185" y="216"/>
                        </a:lnTo>
                        <a:lnTo>
                          <a:pt x="192" y="214"/>
                        </a:lnTo>
                        <a:lnTo>
                          <a:pt x="196" y="211"/>
                        </a:lnTo>
                        <a:lnTo>
                          <a:pt x="203" y="203"/>
                        </a:lnTo>
                        <a:lnTo>
                          <a:pt x="203" y="203"/>
                        </a:lnTo>
                        <a:lnTo>
                          <a:pt x="208" y="197"/>
                        </a:lnTo>
                        <a:lnTo>
                          <a:pt x="208" y="197"/>
                        </a:lnTo>
                        <a:lnTo>
                          <a:pt x="211" y="194"/>
                        </a:lnTo>
                        <a:lnTo>
                          <a:pt x="216" y="192"/>
                        </a:lnTo>
                        <a:lnTo>
                          <a:pt x="225" y="190"/>
                        </a:lnTo>
                        <a:lnTo>
                          <a:pt x="225" y="190"/>
                        </a:lnTo>
                        <a:lnTo>
                          <a:pt x="233" y="189"/>
                        </a:lnTo>
                        <a:lnTo>
                          <a:pt x="238" y="184"/>
                        </a:lnTo>
                        <a:lnTo>
                          <a:pt x="238" y="184"/>
                        </a:lnTo>
                        <a:lnTo>
                          <a:pt x="241" y="181"/>
                        </a:lnTo>
                        <a:lnTo>
                          <a:pt x="241" y="176"/>
                        </a:lnTo>
                        <a:lnTo>
                          <a:pt x="241" y="170"/>
                        </a:lnTo>
                        <a:lnTo>
                          <a:pt x="241" y="170"/>
                        </a:lnTo>
                        <a:lnTo>
                          <a:pt x="241" y="168"/>
                        </a:lnTo>
                        <a:lnTo>
                          <a:pt x="241" y="168"/>
                        </a:lnTo>
                        <a:lnTo>
                          <a:pt x="241" y="162"/>
                        </a:lnTo>
                        <a:lnTo>
                          <a:pt x="243" y="159"/>
                        </a:lnTo>
                        <a:lnTo>
                          <a:pt x="243" y="159"/>
                        </a:lnTo>
                        <a:lnTo>
                          <a:pt x="246" y="154"/>
                        </a:lnTo>
                        <a:lnTo>
                          <a:pt x="249" y="149"/>
                        </a:lnTo>
                        <a:lnTo>
                          <a:pt x="251" y="141"/>
                        </a:lnTo>
                        <a:lnTo>
                          <a:pt x="249" y="138"/>
                        </a:lnTo>
                        <a:lnTo>
                          <a:pt x="248" y="135"/>
                        </a:lnTo>
                        <a:lnTo>
                          <a:pt x="248" y="135"/>
                        </a:lnTo>
                        <a:lnTo>
                          <a:pt x="249" y="131"/>
                        </a:lnTo>
                        <a:lnTo>
                          <a:pt x="249" y="131"/>
                        </a:lnTo>
                        <a:lnTo>
                          <a:pt x="254" y="125"/>
                        </a:lnTo>
                        <a:lnTo>
                          <a:pt x="254" y="117"/>
                        </a:lnTo>
                        <a:lnTo>
                          <a:pt x="252" y="109"/>
                        </a:lnTo>
                        <a:lnTo>
                          <a:pt x="248" y="103"/>
                        </a:lnTo>
                        <a:lnTo>
                          <a:pt x="248" y="103"/>
                        </a:lnTo>
                        <a:close/>
                        <a:moveTo>
                          <a:pt x="230" y="143"/>
                        </a:moveTo>
                        <a:lnTo>
                          <a:pt x="230" y="143"/>
                        </a:lnTo>
                        <a:lnTo>
                          <a:pt x="228" y="146"/>
                        </a:lnTo>
                        <a:lnTo>
                          <a:pt x="228" y="146"/>
                        </a:lnTo>
                        <a:lnTo>
                          <a:pt x="224" y="152"/>
                        </a:lnTo>
                        <a:lnTo>
                          <a:pt x="222" y="157"/>
                        </a:lnTo>
                        <a:lnTo>
                          <a:pt x="222" y="168"/>
                        </a:lnTo>
                        <a:lnTo>
                          <a:pt x="222" y="168"/>
                        </a:lnTo>
                        <a:lnTo>
                          <a:pt x="222" y="171"/>
                        </a:lnTo>
                        <a:lnTo>
                          <a:pt x="222" y="171"/>
                        </a:lnTo>
                        <a:lnTo>
                          <a:pt x="214" y="173"/>
                        </a:lnTo>
                        <a:lnTo>
                          <a:pt x="206" y="175"/>
                        </a:lnTo>
                        <a:lnTo>
                          <a:pt x="200" y="179"/>
                        </a:lnTo>
                        <a:lnTo>
                          <a:pt x="193" y="184"/>
                        </a:lnTo>
                        <a:lnTo>
                          <a:pt x="193" y="184"/>
                        </a:lnTo>
                        <a:lnTo>
                          <a:pt x="187" y="192"/>
                        </a:lnTo>
                        <a:lnTo>
                          <a:pt x="187" y="192"/>
                        </a:lnTo>
                        <a:lnTo>
                          <a:pt x="185" y="195"/>
                        </a:lnTo>
                        <a:lnTo>
                          <a:pt x="185" y="195"/>
                        </a:lnTo>
                        <a:lnTo>
                          <a:pt x="181" y="192"/>
                        </a:lnTo>
                        <a:lnTo>
                          <a:pt x="181" y="192"/>
                        </a:lnTo>
                        <a:lnTo>
                          <a:pt x="176" y="189"/>
                        </a:lnTo>
                        <a:lnTo>
                          <a:pt x="173" y="186"/>
                        </a:lnTo>
                        <a:lnTo>
                          <a:pt x="173" y="186"/>
                        </a:lnTo>
                        <a:lnTo>
                          <a:pt x="169" y="179"/>
                        </a:lnTo>
                        <a:lnTo>
                          <a:pt x="169" y="179"/>
                        </a:lnTo>
                        <a:lnTo>
                          <a:pt x="165" y="173"/>
                        </a:lnTo>
                        <a:lnTo>
                          <a:pt x="161" y="171"/>
                        </a:lnTo>
                        <a:lnTo>
                          <a:pt x="157" y="170"/>
                        </a:lnTo>
                        <a:lnTo>
                          <a:pt x="157" y="170"/>
                        </a:lnTo>
                        <a:lnTo>
                          <a:pt x="158" y="163"/>
                        </a:lnTo>
                        <a:lnTo>
                          <a:pt x="155" y="159"/>
                        </a:lnTo>
                        <a:lnTo>
                          <a:pt x="155" y="159"/>
                        </a:lnTo>
                        <a:lnTo>
                          <a:pt x="152" y="155"/>
                        </a:lnTo>
                        <a:lnTo>
                          <a:pt x="149" y="154"/>
                        </a:lnTo>
                        <a:lnTo>
                          <a:pt x="144" y="152"/>
                        </a:lnTo>
                        <a:lnTo>
                          <a:pt x="144" y="152"/>
                        </a:lnTo>
                        <a:lnTo>
                          <a:pt x="144" y="152"/>
                        </a:lnTo>
                        <a:lnTo>
                          <a:pt x="141" y="152"/>
                        </a:lnTo>
                        <a:lnTo>
                          <a:pt x="137" y="152"/>
                        </a:lnTo>
                        <a:lnTo>
                          <a:pt x="137" y="152"/>
                        </a:lnTo>
                        <a:lnTo>
                          <a:pt x="123" y="154"/>
                        </a:lnTo>
                        <a:lnTo>
                          <a:pt x="117" y="155"/>
                        </a:lnTo>
                        <a:lnTo>
                          <a:pt x="110" y="160"/>
                        </a:lnTo>
                        <a:lnTo>
                          <a:pt x="110" y="160"/>
                        </a:lnTo>
                        <a:lnTo>
                          <a:pt x="109" y="160"/>
                        </a:lnTo>
                        <a:lnTo>
                          <a:pt x="109" y="160"/>
                        </a:lnTo>
                        <a:lnTo>
                          <a:pt x="107" y="159"/>
                        </a:lnTo>
                        <a:lnTo>
                          <a:pt x="107" y="159"/>
                        </a:lnTo>
                        <a:lnTo>
                          <a:pt x="101" y="154"/>
                        </a:lnTo>
                        <a:lnTo>
                          <a:pt x="96" y="151"/>
                        </a:lnTo>
                        <a:lnTo>
                          <a:pt x="91" y="151"/>
                        </a:lnTo>
                        <a:lnTo>
                          <a:pt x="91" y="151"/>
                        </a:lnTo>
                        <a:lnTo>
                          <a:pt x="86" y="151"/>
                        </a:lnTo>
                        <a:lnTo>
                          <a:pt x="80" y="154"/>
                        </a:lnTo>
                        <a:lnTo>
                          <a:pt x="80" y="154"/>
                        </a:lnTo>
                        <a:lnTo>
                          <a:pt x="75" y="157"/>
                        </a:lnTo>
                        <a:lnTo>
                          <a:pt x="75" y="157"/>
                        </a:lnTo>
                        <a:lnTo>
                          <a:pt x="75" y="157"/>
                        </a:lnTo>
                        <a:lnTo>
                          <a:pt x="75" y="157"/>
                        </a:lnTo>
                        <a:lnTo>
                          <a:pt x="73" y="155"/>
                        </a:lnTo>
                        <a:lnTo>
                          <a:pt x="73" y="155"/>
                        </a:lnTo>
                        <a:lnTo>
                          <a:pt x="67" y="151"/>
                        </a:lnTo>
                        <a:lnTo>
                          <a:pt x="59" y="146"/>
                        </a:lnTo>
                        <a:lnTo>
                          <a:pt x="51" y="143"/>
                        </a:lnTo>
                        <a:lnTo>
                          <a:pt x="45" y="141"/>
                        </a:lnTo>
                        <a:lnTo>
                          <a:pt x="45" y="141"/>
                        </a:lnTo>
                        <a:lnTo>
                          <a:pt x="45" y="141"/>
                        </a:lnTo>
                        <a:lnTo>
                          <a:pt x="45" y="141"/>
                        </a:lnTo>
                        <a:lnTo>
                          <a:pt x="40" y="143"/>
                        </a:lnTo>
                        <a:lnTo>
                          <a:pt x="40" y="143"/>
                        </a:lnTo>
                        <a:lnTo>
                          <a:pt x="38" y="143"/>
                        </a:lnTo>
                        <a:lnTo>
                          <a:pt x="38" y="143"/>
                        </a:lnTo>
                        <a:lnTo>
                          <a:pt x="35" y="138"/>
                        </a:lnTo>
                        <a:lnTo>
                          <a:pt x="32" y="133"/>
                        </a:lnTo>
                        <a:lnTo>
                          <a:pt x="22" y="128"/>
                        </a:lnTo>
                        <a:lnTo>
                          <a:pt x="22" y="128"/>
                        </a:lnTo>
                        <a:lnTo>
                          <a:pt x="21" y="120"/>
                        </a:lnTo>
                        <a:lnTo>
                          <a:pt x="19" y="114"/>
                        </a:lnTo>
                        <a:lnTo>
                          <a:pt x="19" y="114"/>
                        </a:lnTo>
                        <a:lnTo>
                          <a:pt x="21" y="107"/>
                        </a:lnTo>
                        <a:lnTo>
                          <a:pt x="21" y="103"/>
                        </a:lnTo>
                        <a:lnTo>
                          <a:pt x="21" y="103"/>
                        </a:lnTo>
                        <a:lnTo>
                          <a:pt x="22" y="96"/>
                        </a:lnTo>
                        <a:lnTo>
                          <a:pt x="22" y="96"/>
                        </a:lnTo>
                        <a:lnTo>
                          <a:pt x="22" y="91"/>
                        </a:lnTo>
                        <a:lnTo>
                          <a:pt x="22" y="88"/>
                        </a:lnTo>
                        <a:lnTo>
                          <a:pt x="22" y="88"/>
                        </a:lnTo>
                        <a:lnTo>
                          <a:pt x="22" y="87"/>
                        </a:lnTo>
                        <a:lnTo>
                          <a:pt x="22" y="87"/>
                        </a:lnTo>
                        <a:lnTo>
                          <a:pt x="22" y="85"/>
                        </a:lnTo>
                        <a:lnTo>
                          <a:pt x="22" y="85"/>
                        </a:lnTo>
                        <a:lnTo>
                          <a:pt x="30" y="77"/>
                        </a:lnTo>
                        <a:lnTo>
                          <a:pt x="34" y="71"/>
                        </a:lnTo>
                        <a:lnTo>
                          <a:pt x="37" y="64"/>
                        </a:lnTo>
                        <a:lnTo>
                          <a:pt x="37" y="58"/>
                        </a:lnTo>
                        <a:lnTo>
                          <a:pt x="37" y="58"/>
                        </a:lnTo>
                        <a:lnTo>
                          <a:pt x="38" y="53"/>
                        </a:lnTo>
                        <a:lnTo>
                          <a:pt x="42" y="52"/>
                        </a:lnTo>
                        <a:lnTo>
                          <a:pt x="42" y="52"/>
                        </a:lnTo>
                        <a:lnTo>
                          <a:pt x="54" y="45"/>
                        </a:lnTo>
                        <a:lnTo>
                          <a:pt x="64" y="39"/>
                        </a:lnTo>
                        <a:lnTo>
                          <a:pt x="69" y="34"/>
                        </a:lnTo>
                        <a:lnTo>
                          <a:pt x="72" y="31"/>
                        </a:lnTo>
                        <a:lnTo>
                          <a:pt x="72" y="31"/>
                        </a:lnTo>
                        <a:lnTo>
                          <a:pt x="80" y="29"/>
                        </a:lnTo>
                        <a:lnTo>
                          <a:pt x="80" y="29"/>
                        </a:lnTo>
                        <a:lnTo>
                          <a:pt x="89" y="28"/>
                        </a:lnTo>
                        <a:lnTo>
                          <a:pt x="99" y="24"/>
                        </a:lnTo>
                        <a:lnTo>
                          <a:pt x="105" y="20"/>
                        </a:lnTo>
                        <a:lnTo>
                          <a:pt x="105" y="20"/>
                        </a:lnTo>
                        <a:lnTo>
                          <a:pt x="110" y="20"/>
                        </a:lnTo>
                        <a:lnTo>
                          <a:pt x="110" y="20"/>
                        </a:lnTo>
                        <a:lnTo>
                          <a:pt x="118" y="24"/>
                        </a:lnTo>
                        <a:lnTo>
                          <a:pt x="123" y="26"/>
                        </a:lnTo>
                        <a:lnTo>
                          <a:pt x="128" y="28"/>
                        </a:lnTo>
                        <a:lnTo>
                          <a:pt x="128" y="28"/>
                        </a:lnTo>
                        <a:lnTo>
                          <a:pt x="134" y="26"/>
                        </a:lnTo>
                        <a:lnTo>
                          <a:pt x="139" y="23"/>
                        </a:lnTo>
                        <a:lnTo>
                          <a:pt x="139" y="23"/>
                        </a:lnTo>
                        <a:lnTo>
                          <a:pt x="141" y="26"/>
                        </a:lnTo>
                        <a:lnTo>
                          <a:pt x="144" y="31"/>
                        </a:lnTo>
                        <a:lnTo>
                          <a:pt x="147" y="34"/>
                        </a:lnTo>
                        <a:lnTo>
                          <a:pt x="153" y="36"/>
                        </a:lnTo>
                        <a:lnTo>
                          <a:pt x="153" y="36"/>
                        </a:lnTo>
                        <a:lnTo>
                          <a:pt x="161" y="34"/>
                        </a:lnTo>
                        <a:lnTo>
                          <a:pt x="161" y="34"/>
                        </a:lnTo>
                        <a:lnTo>
                          <a:pt x="163" y="32"/>
                        </a:lnTo>
                        <a:lnTo>
                          <a:pt x="163" y="32"/>
                        </a:lnTo>
                        <a:lnTo>
                          <a:pt x="168" y="34"/>
                        </a:lnTo>
                        <a:lnTo>
                          <a:pt x="168" y="34"/>
                        </a:lnTo>
                        <a:lnTo>
                          <a:pt x="171" y="36"/>
                        </a:lnTo>
                        <a:lnTo>
                          <a:pt x="171" y="36"/>
                        </a:lnTo>
                        <a:lnTo>
                          <a:pt x="173" y="37"/>
                        </a:lnTo>
                        <a:lnTo>
                          <a:pt x="173" y="37"/>
                        </a:lnTo>
                        <a:lnTo>
                          <a:pt x="177" y="44"/>
                        </a:lnTo>
                        <a:lnTo>
                          <a:pt x="182" y="45"/>
                        </a:lnTo>
                        <a:lnTo>
                          <a:pt x="187" y="47"/>
                        </a:lnTo>
                        <a:lnTo>
                          <a:pt x="187" y="47"/>
                        </a:lnTo>
                        <a:lnTo>
                          <a:pt x="190" y="45"/>
                        </a:lnTo>
                        <a:lnTo>
                          <a:pt x="190" y="45"/>
                        </a:lnTo>
                        <a:lnTo>
                          <a:pt x="192" y="47"/>
                        </a:lnTo>
                        <a:lnTo>
                          <a:pt x="192" y="47"/>
                        </a:lnTo>
                        <a:lnTo>
                          <a:pt x="195" y="50"/>
                        </a:lnTo>
                        <a:lnTo>
                          <a:pt x="195" y="50"/>
                        </a:lnTo>
                        <a:lnTo>
                          <a:pt x="195" y="52"/>
                        </a:lnTo>
                        <a:lnTo>
                          <a:pt x="195" y="52"/>
                        </a:lnTo>
                        <a:lnTo>
                          <a:pt x="196" y="56"/>
                        </a:lnTo>
                        <a:lnTo>
                          <a:pt x="200" y="60"/>
                        </a:lnTo>
                        <a:lnTo>
                          <a:pt x="204" y="63"/>
                        </a:lnTo>
                        <a:lnTo>
                          <a:pt x="212" y="64"/>
                        </a:lnTo>
                        <a:lnTo>
                          <a:pt x="212" y="64"/>
                        </a:lnTo>
                        <a:lnTo>
                          <a:pt x="212" y="66"/>
                        </a:lnTo>
                        <a:lnTo>
                          <a:pt x="212" y="66"/>
                        </a:lnTo>
                        <a:lnTo>
                          <a:pt x="214" y="71"/>
                        </a:lnTo>
                        <a:lnTo>
                          <a:pt x="217" y="75"/>
                        </a:lnTo>
                        <a:lnTo>
                          <a:pt x="224" y="83"/>
                        </a:lnTo>
                        <a:lnTo>
                          <a:pt x="224" y="83"/>
                        </a:lnTo>
                        <a:lnTo>
                          <a:pt x="227" y="88"/>
                        </a:lnTo>
                        <a:lnTo>
                          <a:pt x="230" y="95"/>
                        </a:lnTo>
                        <a:lnTo>
                          <a:pt x="230" y="95"/>
                        </a:lnTo>
                        <a:lnTo>
                          <a:pt x="230" y="96"/>
                        </a:lnTo>
                        <a:lnTo>
                          <a:pt x="230" y="96"/>
                        </a:lnTo>
                        <a:lnTo>
                          <a:pt x="228" y="104"/>
                        </a:lnTo>
                        <a:lnTo>
                          <a:pt x="230" y="111"/>
                        </a:lnTo>
                        <a:lnTo>
                          <a:pt x="233" y="115"/>
                        </a:lnTo>
                        <a:lnTo>
                          <a:pt x="233" y="115"/>
                        </a:lnTo>
                        <a:lnTo>
                          <a:pt x="235" y="119"/>
                        </a:lnTo>
                        <a:lnTo>
                          <a:pt x="235" y="119"/>
                        </a:lnTo>
                        <a:lnTo>
                          <a:pt x="235" y="119"/>
                        </a:lnTo>
                        <a:lnTo>
                          <a:pt x="235" y="119"/>
                        </a:lnTo>
                        <a:lnTo>
                          <a:pt x="230" y="127"/>
                        </a:lnTo>
                        <a:lnTo>
                          <a:pt x="228" y="133"/>
                        </a:lnTo>
                        <a:lnTo>
                          <a:pt x="228" y="138"/>
                        </a:lnTo>
                        <a:lnTo>
                          <a:pt x="230" y="143"/>
                        </a:lnTo>
                        <a:lnTo>
                          <a:pt x="230" y="14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sp>
                <p:nvSpPr>
                  <p:cNvPr id="20" name="Freeform 235"/>
                  <p:cNvSpPr>
                    <a:spLocks noEditPoints="1"/>
                  </p:cNvSpPr>
                  <p:nvPr/>
                </p:nvSpPr>
                <p:spPr bwMode="auto">
                  <a:xfrm>
                    <a:off x="7789863" y="4140200"/>
                    <a:ext cx="315913" cy="371475"/>
                  </a:xfrm>
                  <a:custGeom>
                    <a:avLst/>
                    <a:gdLst>
                      <a:gd name="T0" fmla="*/ 381 w 397"/>
                      <a:gd name="T1" fmla="*/ 85 h 468"/>
                      <a:gd name="T2" fmla="*/ 340 w 397"/>
                      <a:gd name="T3" fmla="*/ 39 h 468"/>
                      <a:gd name="T4" fmla="*/ 260 w 397"/>
                      <a:gd name="T5" fmla="*/ 5 h 468"/>
                      <a:gd name="T6" fmla="*/ 220 w 397"/>
                      <a:gd name="T7" fmla="*/ 0 h 468"/>
                      <a:gd name="T8" fmla="*/ 126 w 397"/>
                      <a:gd name="T9" fmla="*/ 18 h 468"/>
                      <a:gd name="T10" fmla="*/ 71 w 397"/>
                      <a:gd name="T11" fmla="*/ 58 h 468"/>
                      <a:gd name="T12" fmla="*/ 47 w 397"/>
                      <a:gd name="T13" fmla="*/ 106 h 468"/>
                      <a:gd name="T14" fmla="*/ 36 w 397"/>
                      <a:gd name="T15" fmla="*/ 160 h 468"/>
                      <a:gd name="T16" fmla="*/ 12 w 397"/>
                      <a:gd name="T17" fmla="*/ 221 h 468"/>
                      <a:gd name="T18" fmla="*/ 1 w 397"/>
                      <a:gd name="T19" fmla="*/ 238 h 468"/>
                      <a:gd name="T20" fmla="*/ 1 w 397"/>
                      <a:gd name="T21" fmla="*/ 253 h 468"/>
                      <a:gd name="T22" fmla="*/ 22 w 397"/>
                      <a:gd name="T23" fmla="*/ 267 h 468"/>
                      <a:gd name="T24" fmla="*/ 28 w 397"/>
                      <a:gd name="T25" fmla="*/ 272 h 468"/>
                      <a:gd name="T26" fmla="*/ 27 w 397"/>
                      <a:gd name="T27" fmla="*/ 289 h 468"/>
                      <a:gd name="T28" fmla="*/ 35 w 397"/>
                      <a:gd name="T29" fmla="*/ 301 h 468"/>
                      <a:gd name="T30" fmla="*/ 41 w 397"/>
                      <a:gd name="T31" fmla="*/ 323 h 468"/>
                      <a:gd name="T32" fmla="*/ 43 w 397"/>
                      <a:gd name="T33" fmla="*/ 350 h 468"/>
                      <a:gd name="T34" fmla="*/ 68 w 397"/>
                      <a:gd name="T35" fmla="*/ 377 h 468"/>
                      <a:gd name="T36" fmla="*/ 99 w 397"/>
                      <a:gd name="T37" fmla="*/ 380 h 468"/>
                      <a:gd name="T38" fmla="*/ 121 w 397"/>
                      <a:gd name="T39" fmla="*/ 380 h 468"/>
                      <a:gd name="T40" fmla="*/ 132 w 397"/>
                      <a:gd name="T41" fmla="*/ 392 h 468"/>
                      <a:gd name="T42" fmla="*/ 145 w 397"/>
                      <a:gd name="T43" fmla="*/ 428 h 468"/>
                      <a:gd name="T44" fmla="*/ 150 w 397"/>
                      <a:gd name="T45" fmla="*/ 462 h 468"/>
                      <a:gd name="T46" fmla="*/ 158 w 397"/>
                      <a:gd name="T47" fmla="*/ 468 h 468"/>
                      <a:gd name="T48" fmla="*/ 325 w 397"/>
                      <a:gd name="T49" fmla="*/ 419 h 468"/>
                      <a:gd name="T50" fmla="*/ 329 w 397"/>
                      <a:gd name="T51" fmla="*/ 409 h 468"/>
                      <a:gd name="T52" fmla="*/ 330 w 397"/>
                      <a:gd name="T53" fmla="*/ 350 h 468"/>
                      <a:gd name="T54" fmla="*/ 353 w 397"/>
                      <a:gd name="T55" fmla="*/ 283 h 468"/>
                      <a:gd name="T56" fmla="*/ 386 w 397"/>
                      <a:gd name="T57" fmla="*/ 222 h 468"/>
                      <a:gd name="T58" fmla="*/ 397 w 397"/>
                      <a:gd name="T59" fmla="*/ 165 h 468"/>
                      <a:gd name="T60" fmla="*/ 353 w 397"/>
                      <a:gd name="T61" fmla="*/ 245 h 468"/>
                      <a:gd name="T62" fmla="*/ 329 w 397"/>
                      <a:gd name="T63" fmla="*/ 291 h 468"/>
                      <a:gd name="T64" fmla="*/ 309 w 397"/>
                      <a:gd name="T65" fmla="*/ 358 h 468"/>
                      <a:gd name="T66" fmla="*/ 164 w 397"/>
                      <a:gd name="T67" fmla="*/ 446 h 468"/>
                      <a:gd name="T68" fmla="*/ 159 w 397"/>
                      <a:gd name="T69" fmla="*/ 398 h 468"/>
                      <a:gd name="T70" fmla="*/ 139 w 397"/>
                      <a:gd name="T71" fmla="*/ 371 h 468"/>
                      <a:gd name="T72" fmla="*/ 121 w 397"/>
                      <a:gd name="T73" fmla="*/ 360 h 468"/>
                      <a:gd name="T74" fmla="*/ 97 w 397"/>
                      <a:gd name="T75" fmla="*/ 361 h 468"/>
                      <a:gd name="T76" fmla="*/ 76 w 397"/>
                      <a:gd name="T77" fmla="*/ 361 h 468"/>
                      <a:gd name="T78" fmla="*/ 62 w 397"/>
                      <a:gd name="T79" fmla="*/ 345 h 468"/>
                      <a:gd name="T80" fmla="*/ 60 w 397"/>
                      <a:gd name="T81" fmla="*/ 320 h 468"/>
                      <a:gd name="T82" fmla="*/ 52 w 397"/>
                      <a:gd name="T83" fmla="*/ 307 h 468"/>
                      <a:gd name="T84" fmla="*/ 55 w 397"/>
                      <a:gd name="T85" fmla="*/ 301 h 468"/>
                      <a:gd name="T86" fmla="*/ 54 w 397"/>
                      <a:gd name="T87" fmla="*/ 289 h 468"/>
                      <a:gd name="T88" fmla="*/ 46 w 397"/>
                      <a:gd name="T89" fmla="*/ 285 h 468"/>
                      <a:gd name="T90" fmla="*/ 49 w 397"/>
                      <a:gd name="T91" fmla="*/ 270 h 468"/>
                      <a:gd name="T92" fmla="*/ 49 w 397"/>
                      <a:gd name="T93" fmla="*/ 253 h 468"/>
                      <a:gd name="T94" fmla="*/ 32 w 397"/>
                      <a:gd name="T95" fmla="*/ 248 h 468"/>
                      <a:gd name="T96" fmla="*/ 19 w 397"/>
                      <a:gd name="T97" fmla="*/ 246 h 468"/>
                      <a:gd name="T98" fmla="*/ 25 w 397"/>
                      <a:gd name="T99" fmla="*/ 235 h 468"/>
                      <a:gd name="T100" fmla="*/ 52 w 397"/>
                      <a:gd name="T101" fmla="*/ 179 h 468"/>
                      <a:gd name="T102" fmla="*/ 62 w 397"/>
                      <a:gd name="T103" fmla="*/ 122 h 468"/>
                      <a:gd name="T104" fmla="*/ 94 w 397"/>
                      <a:gd name="T105" fmla="*/ 64 h 468"/>
                      <a:gd name="T106" fmla="*/ 143 w 397"/>
                      <a:gd name="T107" fmla="*/ 32 h 468"/>
                      <a:gd name="T108" fmla="*/ 220 w 397"/>
                      <a:gd name="T109" fmla="*/ 19 h 468"/>
                      <a:gd name="T110" fmla="*/ 255 w 397"/>
                      <a:gd name="T111" fmla="*/ 24 h 468"/>
                      <a:gd name="T112" fmla="*/ 325 w 397"/>
                      <a:gd name="T113" fmla="*/ 53 h 468"/>
                      <a:gd name="T114" fmla="*/ 364 w 397"/>
                      <a:gd name="T115" fmla="*/ 93 h 468"/>
                      <a:gd name="T116" fmla="*/ 378 w 397"/>
                      <a:gd name="T117" fmla="*/ 163 h 468"/>
                      <a:gd name="T118" fmla="*/ 369 w 397"/>
                      <a:gd name="T119" fmla="*/ 21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7" h="468">
                        <a:moveTo>
                          <a:pt x="391" y="117"/>
                        </a:moveTo>
                        <a:lnTo>
                          <a:pt x="391" y="117"/>
                        </a:lnTo>
                        <a:lnTo>
                          <a:pt x="388" y="101"/>
                        </a:lnTo>
                        <a:lnTo>
                          <a:pt x="381" y="85"/>
                        </a:lnTo>
                        <a:lnTo>
                          <a:pt x="373" y="71"/>
                        </a:lnTo>
                        <a:lnTo>
                          <a:pt x="364" y="59"/>
                        </a:lnTo>
                        <a:lnTo>
                          <a:pt x="353" y="48"/>
                        </a:lnTo>
                        <a:lnTo>
                          <a:pt x="340" y="39"/>
                        </a:lnTo>
                        <a:lnTo>
                          <a:pt x="325" y="31"/>
                        </a:lnTo>
                        <a:lnTo>
                          <a:pt x="313" y="23"/>
                        </a:lnTo>
                        <a:lnTo>
                          <a:pt x="285" y="13"/>
                        </a:lnTo>
                        <a:lnTo>
                          <a:pt x="260" y="5"/>
                        </a:lnTo>
                        <a:lnTo>
                          <a:pt x="239" y="2"/>
                        </a:lnTo>
                        <a:lnTo>
                          <a:pt x="226" y="0"/>
                        </a:lnTo>
                        <a:lnTo>
                          <a:pt x="220" y="0"/>
                        </a:lnTo>
                        <a:lnTo>
                          <a:pt x="220" y="0"/>
                        </a:lnTo>
                        <a:lnTo>
                          <a:pt x="191" y="2"/>
                        </a:lnTo>
                        <a:lnTo>
                          <a:pt x="167" y="5"/>
                        </a:lnTo>
                        <a:lnTo>
                          <a:pt x="145" y="11"/>
                        </a:lnTo>
                        <a:lnTo>
                          <a:pt x="126" y="18"/>
                        </a:lnTo>
                        <a:lnTo>
                          <a:pt x="110" y="26"/>
                        </a:lnTo>
                        <a:lnTo>
                          <a:pt x="95" y="37"/>
                        </a:lnTo>
                        <a:lnTo>
                          <a:pt x="83" y="47"/>
                        </a:lnTo>
                        <a:lnTo>
                          <a:pt x="71" y="58"/>
                        </a:lnTo>
                        <a:lnTo>
                          <a:pt x="63" y="71"/>
                        </a:lnTo>
                        <a:lnTo>
                          <a:pt x="57" y="82"/>
                        </a:lnTo>
                        <a:lnTo>
                          <a:pt x="51" y="93"/>
                        </a:lnTo>
                        <a:lnTo>
                          <a:pt x="47" y="106"/>
                        </a:lnTo>
                        <a:lnTo>
                          <a:pt x="43" y="125"/>
                        </a:lnTo>
                        <a:lnTo>
                          <a:pt x="40" y="141"/>
                        </a:lnTo>
                        <a:lnTo>
                          <a:pt x="40" y="141"/>
                        </a:lnTo>
                        <a:lnTo>
                          <a:pt x="36" y="160"/>
                        </a:lnTo>
                        <a:lnTo>
                          <a:pt x="32" y="184"/>
                        </a:lnTo>
                        <a:lnTo>
                          <a:pt x="22" y="205"/>
                        </a:lnTo>
                        <a:lnTo>
                          <a:pt x="17" y="214"/>
                        </a:lnTo>
                        <a:lnTo>
                          <a:pt x="12" y="221"/>
                        </a:lnTo>
                        <a:lnTo>
                          <a:pt x="12" y="221"/>
                        </a:lnTo>
                        <a:lnTo>
                          <a:pt x="8" y="225"/>
                        </a:lnTo>
                        <a:lnTo>
                          <a:pt x="3" y="233"/>
                        </a:lnTo>
                        <a:lnTo>
                          <a:pt x="1" y="238"/>
                        </a:lnTo>
                        <a:lnTo>
                          <a:pt x="0" y="243"/>
                        </a:lnTo>
                        <a:lnTo>
                          <a:pt x="0" y="248"/>
                        </a:lnTo>
                        <a:lnTo>
                          <a:pt x="1" y="253"/>
                        </a:lnTo>
                        <a:lnTo>
                          <a:pt x="1" y="253"/>
                        </a:lnTo>
                        <a:lnTo>
                          <a:pt x="3" y="257"/>
                        </a:lnTo>
                        <a:lnTo>
                          <a:pt x="6" y="261"/>
                        </a:lnTo>
                        <a:lnTo>
                          <a:pt x="14" y="265"/>
                        </a:lnTo>
                        <a:lnTo>
                          <a:pt x="22" y="267"/>
                        </a:lnTo>
                        <a:lnTo>
                          <a:pt x="30" y="267"/>
                        </a:lnTo>
                        <a:lnTo>
                          <a:pt x="30" y="267"/>
                        </a:lnTo>
                        <a:lnTo>
                          <a:pt x="28" y="272"/>
                        </a:lnTo>
                        <a:lnTo>
                          <a:pt x="28" y="272"/>
                        </a:lnTo>
                        <a:lnTo>
                          <a:pt x="28" y="278"/>
                        </a:lnTo>
                        <a:lnTo>
                          <a:pt x="27" y="285"/>
                        </a:lnTo>
                        <a:lnTo>
                          <a:pt x="27" y="285"/>
                        </a:lnTo>
                        <a:lnTo>
                          <a:pt x="27" y="289"/>
                        </a:lnTo>
                        <a:lnTo>
                          <a:pt x="28" y="293"/>
                        </a:lnTo>
                        <a:lnTo>
                          <a:pt x="32" y="297"/>
                        </a:lnTo>
                        <a:lnTo>
                          <a:pt x="35" y="301"/>
                        </a:lnTo>
                        <a:lnTo>
                          <a:pt x="35" y="301"/>
                        </a:lnTo>
                        <a:lnTo>
                          <a:pt x="33" y="307"/>
                        </a:lnTo>
                        <a:lnTo>
                          <a:pt x="35" y="312"/>
                        </a:lnTo>
                        <a:lnTo>
                          <a:pt x="36" y="318"/>
                        </a:lnTo>
                        <a:lnTo>
                          <a:pt x="41" y="323"/>
                        </a:lnTo>
                        <a:lnTo>
                          <a:pt x="41" y="323"/>
                        </a:lnTo>
                        <a:lnTo>
                          <a:pt x="41" y="339"/>
                        </a:lnTo>
                        <a:lnTo>
                          <a:pt x="41" y="339"/>
                        </a:lnTo>
                        <a:lnTo>
                          <a:pt x="43" y="350"/>
                        </a:lnTo>
                        <a:lnTo>
                          <a:pt x="47" y="360"/>
                        </a:lnTo>
                        <a:lnTo>
                          <a:pt x="52" y="366"/>
                        </a:lnTo>
                        <a:lnTo>
                          <a:pt x="60" y="372"/>
                        </a:lnTo>
                        <a:lnTo>
                          <a:pt x="68" y="377"/>
                        </a:lnTo>
                        <a:lnTo>
                          <a:pt x="78" y="380"/>
                        </a:lnTo>
                        <a:lnTo>
                          <a:pt x="87" y="382"/>
                        </a:lnTo>
                        <a:lnTo>
                          <a:pt x="97" y="380"/>
                        </a:lnTo>
                        <a:lnTo>
                          <a:pt x="99" y="380"/>
                        </a:lnTo>
                        <a:lnTo>
                          <a:pt x="99" y="380"/>
                        </a:lnTo>
                        <a:lnTo>
                          <a:pt x="115" y="379"/>
                        </a:lnTo>
                        <a:lnTo>
                          <a:pt x="115" y="379"/>
                        </a:lnTo>
                        <a:lnTo>
                          <a:pt x="121" y="380"/>
                        </a:lnTo>
                        <a:lnTo>
                          <a:pt x="124" y="382"/>
                        </a:lnTo>
                        <a:lnTo>
                          <a:pt x="124" y="382"/>
                        </a:lnTo>
                        <a:lnTo>
                          <a:pt x="132" y="392"/>
                        </a:lnTo>
                        <a:lnTo>
                          <a:pt x="132" y="392"/>
                        </a:lnTo>
                        <a:lnTo>
                          <a:pt x="137" y="398"/>
                        </a:lnTo>
                        <a:lnTo>
                          <a:pt x="142" y="404"/>
                        </a:lnTo>
                        <a:lnTo>
                          <a:pt x="143" y="414"/>
                        </a:lnTo>
                        <a:lnTo>
                          <a:pt x="145" y="428"/>
                        </a:lnTo>
                        <a:lnTo>
                          <a:pt x="145" y="428"/>
                        </a:lnTo>
                        <a:lnTo>
                          <a:pt x="147" y="449"/>
                        </a:lnTo>
                        <a:lnTo>
                          <a:pt x="148" y="459"/>
                        </a:lnTo>
                        <a:lnTo>
                          <a:pt x="150" y="462"/>
                        </a:lnTo>
                        <a:lnTo>
                          <a:pt x="150" y="462"/>
                        </a:lnTo>
                        <a:lnTo>
                          <a:pt x="153" y="467"/>
                        </a:lnTo>
                        <a:lnTo>
                          <a:pt x="158" y="468"/>
                        </a:lnTo>
                        <a:lnTo>
                          <a:pt x="158" y="468"/>
                        </a:lnTo>
                        <a:lnTo>
                          <a:pt x="161" y="467"/>
                        </a:lnTo>
                        <a:lnTo>
                          <a:pt x="322" y="420"/>
                        </a:lnTo>
                        <a:lnTo>
                          <a:pt x="322" y="420"/>
                        </a:lnTo>
                        <a:lnTo>
                          <a:pt x="325" y="419"/>
                        </a:lnTo>
                        <a:lnTo>
                          <a:pt x="327" y="416"/>
                        </a:lnTo>
                        <a:lnTo>
                          <a:pt x="329" y="412"/>
                        </a:lnTo>
                        <a:lnTo>
                          <a:pt x="329" y="409"/>
                        </a:lnTo>
                        <a:lnTo>
                          <a:pt x="329" y="409"/>
                        </a:lnTo>
                        <a:lnTo>
                          <a:pt x="329" y="396"/>
                        </a:lnTo>
                        <a:lnTo>
                          <a:pt x="327" y="382"/>
                        </a:lnTo>
                        <a:lnTo>
                          <a:pt x="329" y="368"/>
                        </a:lnTo>
                        <a:lnTo>
                          <a:pt x="330" y="350"/>
                        </a:lnTo>
                        <a:lnTo>
                          <a:pt x="333" y="334"/>
                        </a:lnTo>
                        <a:lnTo>
                          <a:pt x="338" y="317"/>
                        </a:lnTo>
                        <a:lnTo>
                          <a:pt x="345" y="299"/>
                        </a:lnTo>
                        <a:lnTo>
                          <a:pt x="353" y="283"/>
                        </a:lnTo>
                        <a:lnTo>
                          <a:pt x="353" y="283"/>
                        </a:lnTo>
                        <a:lnTo>
                          <a:pt x="370" y="254"/>
                        </a:lnTo>
                        <a:lnTo>
                          <a:pt x="370" y="254"/>
                        </a:lnTo>
                        <a:lnTo>
                          <a:pt x="386" y="222"/>
                        </a:lnTo>
                        <a:lnTo>
                          <a:pt x="393" y="210"/>
                        </a:lnTo>
                        <a:lnTo>
                          <a:pt x="396" y="197"/>
                        </a:lnTo>
                        <a:lnTo>
                          <a:pt x="397" y="182"/>
                        </a:lnTo>
                        <a:lnTo>
                          <a:pt x="397" y="165"/>
                        </a:lnTo>
                        <a:lnTo>
                          <a:pt x="396" y="144"/>
                        </a:lnTo>
                        <a:lnTo>
                          <a:pt x="391" y="117"/>
                        </a:lnTo>
                        <a:lnTo>
                          <a:pt x="391" y="117"/>
                        </a:lnTo>
                        <a:close/>
                        <a:moveTo>
                          <a:pt x="353" y="245"/>
                        </a:moveTo>
                        <a:lnTo>
                          <a:pt x="353" y="245"/>
                        </a:lnTo>
                        <a:lnTo>
                          <a:pt x="337" y="273"/>
                        </a:lnTo>
                        <a:lnTo>
                          <a:pt x="337" y="273"/>
                        </a:lnTo>
                        <a:lnTo>
                          <a:pt x="329" y="291"/>
                        </a:lnTo>
                        <a:lnTo>
                          <a:pt x="321" y="307"/>
                        </a:lnTo>
                        <a:lnTo>
                          <a:pt x="316" y="325"/>
                        </a:lnTo>
                        <a:lnTo>
                          <a:pt x="313" y="342"/>
                        </a:lnTo>
                        <a:lnTo>
                          <a:pt x="309" y="358"/>
                        </a:lnTo>
                        <a:lnTo>
                          <a:pt x="309" y="376"/>
                        </a:lnTo>
                        <a:lnTo>
                          <a:pt x="309" y="403"/>
                        </a:lnTo>
                        <a:lnTo>
                          <a:pt x="164" y="446"/>
                        </a:lnTo>
                        <a:lnTo>
                          <a:pt x="164" y="446"/>
                        </a:lnTo>
                        <a:lnTo>
                          <a:pt x="164" y="428"/>
                        </a:lnTo>
                        <a:lnTo>
                          <a:pt x="164" y="428"/>
                        </a:lnTo>
                        <a:lnTo>
                          <a:pt x="163" y="411"/>
                        </a:lnTo>
                        <a:lnTo>
                          <a:pt x="159" y="398"/>
                        </a:lnTo>
                        <a:lnTo>
                          <a:pt x="153" y="388"/>
                        </a:lnTo>
                        <a:lnTo>
                          <a:pt x="147" y="379"/>
                        </a:lnTo>
                        <a:lnTo>
                          <a:pt x="147" y="379"/>
                        </a:lnTo>
                        <a:lnTo>
                          <a:pt x="139" y="371"/>
                        </a:lnTo>
                        <a:lnTo>
                          <a:pt x="139" y="371"/>
                        </a:lnTo>
                        <a:lnTo>
                          <a:pt x="134" y="364"/>
                        </a:lnTo>
                        <a:lnTo>
                          <a:pt x="127" y="361"/>
                        </a:lnTo>
                        <a:lnTo>
                          <a:pt x="121" y="360"/>
                        </a:lnTo>
                        <a:lnTo>
                          <a:pt x="115" y="360"/>
                        </a:lnTo>
                        <a:lnTo>
                          <a:pt x="115" y="360"/>
                        </a:lnTo>
                        <a:lnTo>
                          <a:pt x="105" y="360"/>
                        </a:lnTo>
                        <a:lnTo>
                          <a:pt x="97" y="361"/>
                        </a:lnTo>
                        <a:lnTo>
                          <a:pt x="94" y="363"/>
                        </a:lnTo>
                        <a:lnTo>
                          <a:pt x="94" y="363"/>
                        </a:lnTo>
                        <a:lnTo>
                          <a:pt x="83" y="361"/>
                        </a:lnTo>
                        <a:lnTo>
                          <a:pt x="76" y="361"/>
                        </a:lnTo>
                        <a:lnTo>
                          <a:pt x="71" y="358"/>
                        </a:lnTo>
                        <a:lnTo>
                          <a:pt x="67" y="355"/>
                        </a:lnTo>
                        <a:lnTo>
                          <a:pt x="63" y="350"/>
                        </a:lnTo>
                        <a:lnTo>
                          <a:pt x="62" y="345"/>
                        </a:lnTo>
                        <a:lnTo>
                          <a:pt x="60" y="339"/>
                        </a:lnTo>
                        <a:lnTo>
                          <a:pt x="60" y="339"/>
                        </a:lnTo>
                        <a:lnTo>
                          <a:pt x="60" y="328"/>
                        </a:lnTo>
                        <a:lnTo>
                          <a:pt x="60" y="320"/>
                        </a:lnTo>
                        <a:lnTo>
                          <a:pt x="57" y="315"/>
                        </a:lnTo>
                        <a:lnTo>
                          <a:pt x="54" y="310"/>
                        </a:lnTo>
                        <a:lnTo>
                          <a:pt x="54" y="310"/>
                        </a:lnTo>
                        <a:lnTo>
                          <a:pt x="52" y="307"/>
                        </a:lnTo>
                        <a:lnTo>
                          <a:pt x="54" y="304"/>
                        </a:lnTo>
                        <a:lnTo>
                          <a:pt x="54" y="304"/>
                        </a:lnTo>
                        <a:lnTo>
                          <a:pt x="55" y="301"/>
                        </a:lnTo>
                        <a:lnTo>
                          <a:pt x="55" y="301"/>
                        </a:lnTo>
                        <a:lnTo>
                          <a:pt x="57" y="297"/>
                        </a:lnTo>
                        <a:lnTo>
                          <a:pt x="57" y="293"/>
                        </a:lnTo>
                        <a:lnTo>
                          <a:pt x="57" y="293"/>
                        </a:lnTo>
                        <a:lnTo>
                          <a:pt x="54" y="289"/>
                        </a:lnTo>
                        <a:lnTo>
                          <a:pt x="51" y="288"/>
                        </a:lnTo>
                        <a:lnTo>
                          <a:pt x="51" y="288"/>
                        </a:lnTo>
                        <a:lnTo>
                          <a:pt x="46" y="286"/>
                        </a:lnTo>
                        <a:lnTo>
                          <a:pt x="46" y="285"/>
                        </a:lnTo>
                        <a:lnTo>
                          <a:pt x="46" y="285"/>
                        </a:lnTo>
                        <a:lnTo>
                          <a:pt x="47" y="278"/>
                        </a:lnTo>
                        <a:lnTo>
                          <a:pt x="47" y="278"/>
                        </a:lnTo>
                        <a:lnTo>
                          <a:pt x="49" y="270"/>
                        </a:lnTo>
                        <a:lnTo>
                          <a:pt x="51" y="259"/>
                        </a:lnTo>
                        <a:lnTo>
                          <a:pt x="51" y="259"/>
                        </a:lnTo>
                        <a:lnTo>
                          <a:pt x="51" y="256"/>
                        </a:lnTo>
                        <a:lnTo>
                          <a:pt x="49" y="253"/>
                        </a:lnTo>
                        <a:lnTo>
                          <a:pt x="46" y="249"/>
                        </a:lnTo>
                        <a:lnTo>
                          <a:pt x="43" y="249"/>
                        </a:lnTo>
                        <a:lnTo>
                          <a:pt x="43" y="249"/>
                        </a:lnTo>
                        <a:lnTo>
                          <a:pt x="32" y="248"/>
                        </a:lnTo>
                        <a:lnTo>
                          <a:pt x="32" y="248"/>
                        </a:lnTo>
                        <a:lnTo>
                          <a:pt x="22" y="248"/>
                        </a:lnTo>
                        <a:lnTo>
                          <a:pt x="20" y="246"/>
                        </a:lnTo>
                        <a:lnTo>
                          <a:pt x="19" y="246"/>
                        </a:lnTo>
                        <a:lnTo>
                          <a:pt x="19" y="246"/>
                        </a:lnTo>
                        <a:lnTo>
                          <a:pt x="20" y="241"/>
                        </a:lnTo>
                        <a:lnTo>
                          <a:pt x="25" y="235"/>
                        </a:lnTo>
                        <a:lnTo>
                          <a:pt x="25" y="235"/>
                        </a:lnTo>
                        <a:lnTo>
                          <a:pt x="35" y="222"/>
                        </a:lnTo>
                        <a:lnTo>
                          <a:pt x="41" y="210"/>
                        </a:lnTo>
                        <a:lnTo>
                          <a:pt x="47" y="194"/>
                        </a:lnTo>
                        <a:lnTo>
                          <a:pt x="52" y="179"/>
                        </a:lnTo>
                        <a:lnTo>
                          <a:pt x="57" y="154"/>
                        </a:lnTo>
                        <a:lnTo>
                          <a:pt x="59" y="142"/>
                        </a:lnTo>
                        <a:lnTo>
                          <a:pt x="59" y="142"/>
                        </a:lnTo>
                        <a:lnTo>
                          <a:pt x="62" y="122"/>
                        </a:lnTo>
                        <a:lnTo>
                          <a:pt x="67" y="104"/>
                        </a:lnTo>
                        <a:lnTo>
                          <a:pt x="75" y="88"/>
                        </a:lnTo>
                        <a:lnTo>
                          <a:pt x="83" y="75"/>
                        </a:lnTo>
                        <a:lnTo>
                          <a:pt x="94" y="64"/>
                        </a:lnTo>
                        <a:lnTo>
                          <a:pt x="105" y="53"/>
                        </a:lnTo>
                        <a:lnTo>
                          <a:pt x="116" y="45"/>
                        </a:lnTo>
                        <a:lnTo>
                          <a:pt x="129" y="39"/>
                        </a:lnTo>
                        <a:lnTo>
                          <a:pt x="143" y="32"/>
                        </a:lnTo>
                        <a:lnTo>
                          <a:pt x="156" y="29"/>
                        </a:lnTo>
                        <a:lnTo>
                          <a:pt x="182" y="23"/>
                        </a:lnTo>
                        <a:lnTo>
                          <a:pt x="202" y="21"/>
                        </a:lnTo>
                        <a:lnTo>
                          <a:pt x="220" y="19"/>
                        </a:lnTo>
                        <a:lnTo>
                          <a:pt x="226" y="19"/>
                        </a:lnTo>
                        <a:lnTo>
                          <a:pt x="226" y="19"/>
                        </a:lnTo>
                        <a:lnTo>
                          <a:pt x="238" y="21"/>
                        </a:lnTo>
                        <a:lnTo>
                          <a:pt x="255" y="24"/>
                        </a:lnTo>
                        <a:lnTo>
                          <a:pt x="278" y="31"/>
                        </a:lnTo>
                        <a:lnTo>
                          <a:pt x="301" y="39"/>
                        </a:lnTo>
                        <a:lnTo>
                          <a:pt x="314" y="45"/>
                        </a:lnTo>
                        <a:lnTo>
                          <a:pt x="325" y="53"/>
                        </a:lnTo>
                        <a:lnTo>
                          <a:pt x="337" y="61"/>
                        </a:lnTo>
                        <a:lnTo>
                          <a:pt x="348" y="71"/>
                        </a:lnTo>
                        <a:lnTo>
                          <a:pt x="356" y="80"/>
                        </a:lnTo>
                        <a:lnTo>
                          <a:pt x="364" y="93"/>
                        </a:lnTo>
                        <a:lnTo>
                          <a:pt x="369" y="106"/>
                        </a:lnTo>
                        <a:lnTo>
                          <a:pt x="373" y="120"/>
                        </a:lnTo>
                        <a:lnTo>
                          <a:pt x="373" y="120"/>
                        </a:lnTo>
                        <a:lnTo>
                          <a:pt x="378" y="163"/>
                        </a:lnTo>
                        <a:lnTo>
                          <a:pt x="378" y="179"/>
                        </a:lnTo>
                        <a:lnTo>
                          <a:pt x="377" y="192"/>
                        </a:lnTo>
                        <a:lnTo>
                          <a:pt x="373" y="203"/>
                        </a:lnTo>
                        <a:lnTo>
                          <a:pt x="369" y="216"/>
                        </a:lnTo>
                        <a:lnTo>
                          <a:pt x="353" y="245"/>
                        </a:lnTo>
                        <a:lnTo>
                          <a:pt x="353" y="245"/>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grpSp>
            <p:grpSp>
              <p:nvGrpSpPr>
                <p:cNvPr id="21" name="Group 20"/>
                <p:cNvGrpSpPr/>
                <p:nvPr/>
              </p:nvGrpSpPr>
              <p:grpSpPr>
                <a:xfrm>
                  <a:off x="-1877026" y="4926720"/>
                  <a:ext cx="543301" cy="555268"/>
                  <a:chOff x="5864226" y="2549525"/>
                  <a:chExt cx="360363" cy="368300"/>
                </a:xfrm>
                <a:solidFill>
                  <a:schemeClr val="accent1"/>
                </a:solidFill>
              </p:grpSpPr>
              <p:sp>
                <p:nvSpPr>
                  <p:cNvPr id="22" name="Freeform 72"/>
                  <p:cNvSpPr>
                    <a:spLocks/>
                  </p:cNvSpPr>
                  <p:nvPr/>
                </p:nvSpPr>
                <p:spPr bwMode="auto">
                  <a:xfrm>
                    <a:off x="6043613" y="2671763"/>
                    <a:ext cx="46038" cy="63500"/>
                  </a:xfrm>
                  <a:custGeom>
                    <a:avLst/>
                    <a:gdLst>
                      <a:gd name="T0" fmla="*/ 30 w 58"/>
                      <a:gd name="T1" fmla="*/ 10 h 80"/>
                      <a:gd name="T2" fmla="*/ 30 w 58"/>
                      <a:gd name="T3" fmla="*/ 10 h 80"/>
                      <a:gd name="T4" fmla="*/ 26 w 58"/>
                      <a:gd name="T5" fmla="*/ 5 h 80"/>
                      <a:gd name="T6" fmla="*/ 19 w 58"/>
                      <a:gd name="T7" fmla="*/ 2 h 80"/>
                      <a:gd name="T8" fmla="*/ 13 w 58"/>
                      <a:gd name="T9" fmla="*/ 0 h 80"/>
                      <a:gd name="T10" fmla="*/ 8 w 58"/>
                      <a:gd name="T11" fmla="*/ 3 h 80"/>
                      <a:gd name="T12" fmla="*/ 8 w 58"/>
                      <a:gd name="T13" fmla="*/ 3 h 80"/>
                      <a:gd name="T14" fmla="*/ 3 w 58"/>
                      <a:gd name="T15" fmla="*/ 6 h 80"/>
                      <a:gd name="T16" fmla="*/ 0 w 58"/>
                      <a:gd name="T17" fmla="*/ 13 h 80"/>
                      <a:gd name="T18" fmla="*/ 0 w 58"/>
                      <a:gd name="T19" fmla="*/ 19 h 80"/>
                      <a:gd name="T20" fmla="*/ 2 w 58"/>
                      <a:gd name="T21" fmla="*/ 25 h 80"/>
                      <a:gd name="T22" fmla="*/ 27 w 58"/>
                      <a:gd name="T23" fmla="*/ 70 h 80"/>
                      <a:gd name="T24" fmla="*/ 27 w 58"/>
                      <a:gd name="T25" fmla="*/ 70 h 80"/>
                      <a:gd name="T26" fmla="*/ 30 w 58"/>
                      <a:gd name="T27" fmla="*/ 75 h 80"/>
                      <a:gd name="T28" fmla="*/ 34 w 58"/>
                      <a:gd name="T29" fmla="*/ 77 h 80"/>
                      <a:gd name="T30" fmla="*/ 38 w 58"/>
                      <a:gd name="T31" fmla="*/ 80 h 80"/>
                      <a:gd name="T32" fmla="*/ 43 w 58"/>
                      <a:gd name="T33" fmla="*/ 80 h 80"/>
                      <a:gd name="T34" fmla="*/ 43 w 58"/>
                      <a:gd name="T35" fmla="*/ 80 h 80"/>
                      <a:gd name="T36" fmla="*/ 50 w 58"/>
                      <a:gd name="T37" fmla="*/ 78 h 80"/>
                      <a:gd name="T38" fmla="*/ 50 w 58"/>
                      <a:gd name="T39" fmla="*/ 78 h 80"/>
                      <a:gd name="T40" fmla="*/ 54 w 58"/>
                      <a:gd name="T41" fmla="*/ 73 h 80"/>
                      <a:gd name="T42" fmla="*/ 58 w 58"/>
                      <a:gd name="T43" fmla="*/ 69 h 80"/>
                      <a:gd name="T44" fmla="*/ 58 w 58"/>
                      <a:gd name="T45" fmla="*/ 69 h 80"/>
                      <a:gd name="T46" fmla="*/ 58 w 58"/>
                      <a:gd name="T47" fmla="*/ 62 h 80"/>
                      <a:gd name="T48" fmla="*/ 54 w 58"/>
                      <a:gd name="T49" fmla="*/ 56 h 80"/>
                      <a:gd name="T50" fmla="*/ 30 w 58"/>
                      <a:gd name="T51" fmla="*/ 1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80">
                        <a:moveTo>
                          <a:pt x="30" y="10"/>
                        </a:moveTo>
                        <a:lnTo>
                          <a:pt x="30" y="10"/>
                        </a:lnTo>
                        <a:lnTo>
                          <a:pt x="26" y="5"/>
                        </a:lnTo>
                        <a:lnTo>
                          <a:pt x="19" y="2"/>
                        </a:lnTo>
                        <a:lnTo>
                          <a:pt x="13" y="0"/>
                        </a:lnTo>
                        <a:lnTo>
                          <a:pt x="8" y="3"/>
                        </a:lnTo>
                        <a:lnTo>
                          <a:pt x="8" y="3"/>
                        </a:lnTo>
                        <a:lnTo>
                          <a:pt x="3" y="6"/>
                        </a:lnTo>
                        <a:lnTo>
                          <a:pt x="0" y="13"/>
                        </a:lnTo>
                        <a:lnTo>
                          <a:pt x="0" y="19"/>
                        </a:lnTo>
                        <a:lnTo>
                          <a:pt x="2" y="25"/>
                        </a:lnTo>
                        <a:lnTo>
                          <a:pt x="27" y="70"/>
                        </a:lnTo>
                        <a:lnTo>
                          <a:pt x="27" y="70"/>
                        </a:lnTo>
                        <a:lnTo>
                          <a:pt x="30" y="75"/>
                        </a:lnTo>
                        <a:lnTo>
                          <a:pt x="34" y="77"/>
                        </a:lnTo>
                        <a:lnTo>
                          <a:pt x="38" y="80"/>
                        </a:lnTo>
                        <a:lnTo>
                          <a:pt x="43" y="80"/>
                        </a:lnTo>
                        <a:lnTo>
                          <a:pt x="43" y="80"/>
                        </a:lnTo>
                        <a:lnTo>
                          <a:pt x="50" y="78"/>
                        </a:lnTo>
                        <a:lnTo>
                          <a:pt x="50" y="78"/>
                        </a:lnTo>
                        <a:lnTo>
                          <a:pt x="54" y="73"/>
                        </a:lnTo>
                        <a:lnTo>
                          <a:pt x="58" y="69"/>
                        </a:lnTo>
                        <a:lnTo>
                          <a:pt x="58" y="69"/>
                        </a:lnTo>
                        <a:lnTo>
                          <a:pt x="58" y="62"/>
                        </a:lnTo>
                        <a:lnTo>
                          <a:pt x="54" y="56"/>
                        </a:lnTo>
                        <a:lnTo>
                          <a:pt x="30" y="1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sp>
                <p:nvSpPr>
                  <p:cNvPr id="23" name="Freeform 73"/>
                  <p:cNvSpPr>
                    <a:spLocks noEditPoints="1"/>
                  </p:cNvSpPr>
                  <p:nvPr/>
                </p:nvSpPr>
                <p:spPr bwMode="auto">
                  <a:xfrm>
                    <a:off x="5864226" y="2549525"/>
                    <a:ext cx="360363" cy="368300"/>
                  </a:xfrm>
                  <a:custGeom>
                    <a:avLst/>
                    <a:gdLst>
                      <a:gd name="T0" fmla="*/ 360 w 456"/>
                      <a:gd name="T1" fmla="*/ 141 h 465"/>
                      <a:gd name="T2" fmla="*/ 334 w 456"/>
                      <a:gd name="T3" fmla="*/ 110 h 465"/>
                      <a:gd name="T4" fmla="*/ 296 w 456"/>
                      <a:gd name="T5" fmla="*/ 93 h 465"/>
                      <a:gd name="T6" fmla="*/ 269 w 456"/>
                      <a:gd name="T7" fmla="*/ 89 h 465"/>
                      <a:gd name="T8" fmla="*/ 227 w 456"/>
                      <a:gd name="T9" fmla="*/ 96 h 465"/>
                      <a:gd name="T10" fmla="*/ 200 w 456"/>
                      <a:gd name="T11" fmla="*/ 73 h 465"/>
                      <a:gd name="T12" fmla="*/ 184 w 456"/>
                      <a:gd name="T13" fmla="*/ 54 h 465"/>
                      <a:gd name="T14" fmla="*/ 154 w 456"/>
                      <a:gd name="T15" fmla="*/ 45 h 465"/>
                      <a:gd name="T16" fmla="*/ 104 w 456"/>
                      <a:gd name="T17" fmla="*/ 61 h 465"/>
                      <a:gd name="T18" fmla="*/ 103 w 456"/>
                      <a:gd name="T19" fmla="*/ 62 h 465"/>
                      <a:gd name="T20" fmla="*/ 75 w 456"/>
                      <a:gd name="T21" fmla="*/ 69 h 465"/>
                      <a:gd name="T22" fmla="*/ 47 w 456"/>
                      <a:gd name="T23" fmla="*/ 59 h 465"/>
                      <a:gd name="T24" fmla="*/ 18 w 456"/>
                      <a:gd name="T25" fmla="*/ 5 h 465"/>
                      <a:gd name="T26" fmla="*/ 13 w 456"/>
                      <a:gd name="T27" fmla="*/ 0 h 465"/>
                      <a:gd name="T28" fmla="*/ 5 w 456"/>
                      <a:gd name="T29" fmla="*/ 2 h 465"/>
                      <a:gd name="T30" fmla="*/ 0 w 456"/>
                      <a:gd name="T31" fmla="*/ 10 h 465"/>
                      <a:gd name="T32" fmla="*/ 23 w 456"/>
                      <a:gd name="T33" fmla="*/ 59 h 465"/>
                      <a:gd name="T34" fmla="*/ 51 w 456"/>
                      <a:gd name="T35" fmla="*/ 83 h 465"/>
                      <a:gd name="T36" fmla="*/ 85 w 456"/>
                      <a:gd name="T37" fmla="*/ 86 h 465"/>
                      <a:gd name="T38" fmla="*/ 106 w 456"/>
                      <a:gd name="T39" fmla="*/ 81 h 465"/>
                      <a:gd name="T40" fmla="*/ 107 w 456"/>
                      <a:gd name="T41" fmla="*/ 81 h 465"/>
                      <a:gd name="T42" fmla="*/ 112 w 456"/>
                      <a:gd name="T43" fmla="*/ 78 h 465"/>
                      <a:gd name="T44" fmla="*/ 112 w 456"/>
                      <a:gd name="T45" fmla="*/ 78 h 465"/>
                      <a:gd name="T46" fmla="*/ 146 w 456"/>
                      <a:gd name="T47" fmla="*/ 64 h 465"/>
                      <a:gd name="T48" fmla="*/ 170 w 456"/>
                      <a:gd name="T49" fmla="*/ 69 h 465"/>
                      <a:gd name="T50" fmla="*/ 182 w 456"/>
                      <a:gd name="T51" fmla="*/ 83 h 465"/>
                      <a:gd name="T52" fmla="*/ 189 w 456"/>
                      <a:gd name="T53" fmla="*/ 118 h 465"/>
                      <a:gd name="T54" fmla="*/ 155 w 456"/>
                      <a:gd name="T55" fmla="*/ 158 h 465"/>
                      <a:gd name="T56" fmla="*/ 142 w 456"/>
                      <a:gd name="T57" fmla="*/ 208 h 465"/>
                      <a:gd name="T58" fmla="*/ 147 w 456"/>
                      <a:gd name="T59" fmla="*/ 236 h 465"/>
                      <a:gd name="T60" fmla="*/ 249 w 456"/>
                      <a:gd name="T61" fmla="*/ 412 h 465"/>
                      <a:gd name="T62" fmla="*/ 269 w 456"/>
                      <a:gd name="T63" fmla="*/ 434 h 465"/>
                      <a:gd name="T64" fmla="*/ 302 w 456"/>
                      <a:gd name="T65" fmla="*/ 457 h 465"/>
                      <a:gd name="T66" fmla="*/ 342 w 456"/>
                      <a:gd name="T67" fmla="*/ 465 h 465"/>
                      <a:gd name="T68" fmla="*/ 371 w 456"/>
                      <a:gd name="T69" fmla="*/ 462 h 465"/>
                      <a:gd name="T70" fmla="*/ 398 w 456"/>
                      <a:gd name="T71" fmla="*/ 450 h 465"/>
                      <a:gd name="T72" fmla="*/ 424 w 456"/>
                      <a:gd name="T73" fmla="*/ 430 h 465"/>
                      <a:gd name="T74" fmla="*/ 443 w 456"/>
                      <a:gd name="T75" fmla="*/ 406 h 465"/>
                      <a:gd name="T76" fmla="*/ 454 w 456"/>
                      <a:gd name="T77" fmla="*/ 377 h 465"/>
                      <a:gd name="T78" fmla="*/ 456 w 456"/>
                      <a:gd name="T79" fmla="*/ 347 h 465"/>
                      <a:gd name="T80" fmla="*/ 449 w 456"/>
                      <a:gd name="T81" fmla="*/ 315 h 465"/>
                      <a:gd name="T82" fmla="*/ 388 w 456"/>
                      <a:gd name="T83" fmla="*/ 433 h 465"/>
                      <a:gd name="T84" fmla="*/ 366 w 456"/>
                      <a:gd name="T85" fmla="*/ 442 h 465"/>
                      <a:gd name="T86" fmla="*/ 342 w 456"/>
                      <a:gd name="T87" fmla="*/ 446 h 465"/>
                      <a:gd name="T88" fmla="*/ 310 w 456"/>
                      <a:gd name="T89" fmla="*/ 439 h 465"/>
                      <a:gd name="T90" fmla="*/ 281 w 456"/>
                      <a:gd name="T91" fmla="*/ 422 h 465"/>
                      <a:gd name="T92" fmla="*/ 171 w 456"/>
                      <a:gd name="T93" fmla="*/ 246 h 465"/>
                      <a:gd name="T94" fmla="*/ 165 w 456"/>
                      <a:gd name="T95" fmla="*/ 230 h 465"/>
                      <a:gd name="T96" fmla="*/ 163 w 456"/>
                      <a:gd name="T97" fmla="*/ 196 h 465"/>
                      <a:gd name="T98" fmla="*/ 186 w 456"/>
                      <a:gd name="T99" fmla="*/ 147 h 465"/>
                      <a:gd name="T100" fmla="*/ 216 w 456"/>
                      <a:gd name="T101" fmla="*/ 123 h 465"/>
                      <a:gd name="T102" fmla="*/ 254 w 456"/>
                      <a:gd name="T103" fmla="*/ 110 h 465"/>
                      <a:gd name="T104" fmla="*/ 280 w 456"/>
                      <a:gd name="T105" fmla="*/ 109 h 465"/>
                      <a:gd name="T106" fmla="*/ 313 w 456"/>
                      <a:gd name="T107" fmla="*/ 120 h 465"/>
                      <a:gd name="T108" fmla="*/ 337 w 456"/>
                      <a:gd name="T109" fmla="*/ 141 h 465"/>
                      <a:gd name="T110" fmla="*/ 427 w 456"/>
                      <a:gd name="T111" fmla="*/ 311 h 465"/>
                      <a:gd name="T112" fmla="*/ 436 w 456"/>
                      <a:gd name="T113" fmla="*/ 364 h 465"/>
                      <a:gd name="T114" fmla="*/ 417 w 456"/>
                      <a:gd name="T115" fmla="*/ 410 h 465"/>
                      <a:gd name="T116" fmla="*/ 388 w 456"/>
                      <a:gd name="T117" fmla="*/ 433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6" h="465">
                        <a:moveTo>
                          <a:pt x="444" y="303"/>
                        </a:moveTo>
                        <a:lnTo>
                          <a:pt x="360" y="141"/>
                        </a:lnTo>
                        <a:lnTo>
                          <a:pt x="360" y="141"/>
                        </a:lnTo>
                        <a:lnTo>
                          <a:pt x="353" y="129"/>
                        </a:lnTo>
                        <a:lnTo>
                          <a:pt x="344" y="120"/>
                        </a:lnTo>
                        <a:lnTo>
                          <a:pt x="334" y="110"/>
                        </a:lnTo>
                        <a:lnTo>
                          <a:pt x="323" y="104"/>
                        </a:lnTo>
                        <a:lnTo>
                          <a:pt x="310" y="97"/>
                        </a:lnTo>
                        <a:lnTo>
                          <a:pt x="296" y="93"/>
                        </a:lnTo>
                        <a:lnTo>
                          <a:pt x="283" y="91"/>
                        </a:lnTo>
                        <a:lnTo>
                          <a:pt x="269" y="89"/>
                        </a:lnTo>
                        <a:lnTo>
                          <a:pt x="269" y="89"/>
                        </a:lnTo>
                        <a:lnTo>
                          <a:pt x="254" y="91"/>
                        </a:lnTo>
                        <a:lnTo>
                          <a:pt x="242" y="93"/>
                        </a:lnTo>
                        <a:lnTo>
                          <a:pt x="227" y="96"/>
                        </a:lnTo>
                        <a:lnTo>
                          <a:pt x="214" y="102"/>
                        </a:lnTo>
                        <a:lnTo>
                          <a:pt x="200" y="73"/>
                        </a:lnTo>
                        <a:lnTo>
                          <a:pt x="200" y="73"/>
                        </a:lnTo>
                        <a:lnTo>
                          <a:pt x="195" y="67"/>
                        </a:lnTo>
                        <a:lnTo>
                          <a:pt x="190" y="61"/>
                        </a:lnTo>
                        <a:lnTo>
                          <a:pt x="184" y="54"/>
                        </a:lnTo>
                        <a:lnTo>
                          <a:pt x="174" y="50"/>
                        </a:lnTo>
                        <a:lnTo>
                          <a:pt x="165" y="45"/>
                        </a:lnTo>
                        <a:lnTo>
                          <a:pt x="154" y="45"/>
                        </a:lnTo>
                        <a:lnTo>
                          <a:pt x="141" y="46"/>
                        </a:lnTo>
                        <a:lnTo>
                          <a:pt x="126" y="51"/>
                        </a:lnTo>
                        <a:lnTo>
                          <a:pt x="104" y="61"/>
                        </a:lnTo>
                        <a:lnTo>
                          <a:pt x="104" y="61"/>
                        </a:lnTo>
                        <a:lnTo>
                          <a:pt x="103" y="62"/>
                        </a:lnTo>
                        <a:lnTo>
                          <a:pt x="103" y="62"/>
                        </a:lnTo>
                        <a:lnTo>
                          <a:pt x="95" y="65"/>
                        </a:lnTo>
                        <a:lnTo>
                          <a:pt x="85" y="67"/>
                        </a:lnTo>
                        <a:lnTo>
                          <a:pt x="75" y="69"/>
                        </a:lnTo>
                        <a:lnTo>
                          <a:pt x="66" y="69"/>
                        </a:lnTo>
                        <a:lnTo>
                          <a:pt x="56" y="65"/>
                        </a:lnTo>
                        <a:lnTo>
                          <a:pt x="47" y="59"/>
                        </a:lnTo>
                        <a:lnTo>
                          <a:pt x="43" y="56"/>
                        </a:lnTo>
                        <a:lnTo>
                          <a:pt x="40" y="50"/>
                        </a:lnTo>
                        <a:lnTo>
                          <a:pt x="18" y="5"/>
                        </a:lnTo>
                        <a:lnTo>
                          <a:pt x="18" y="5"/>
                        </a:lnTo>
                        <a:lnTo>
                          <a:pt x="16" y="3"/>
                        </a:lnTo>
                        <a:lnTo>
                          <a:pt x="13" y="0"/>
                        </a:lnTo>
                        <a:lnTo>
                          <a:pt x="10" y="0"/>
                        </a:lnTo>
                        <a:lnTo>
                          <a:pt x="5" y="2"/>
                        </a:lnTo>
                        <a:lnTo>
                          <a:pt x="5" y="2"/>
                        </a:lnTo>
                        <a:lnTo>
                          <a:pt x="2" y="3"/>
                        </a:lnTo>
                        <a:lnTo>
                          <a:pt x="0" y="6"/>
                        </a:lnTo>
                        <a:lnTo>
                          <a:pt x="0" y="10"/>
                        </a:lnTo>
                        <a:lnTo>
                          <a:pt x="0" y="14"/>
                        </a:lnTo>
                        <a:lnTo>
                          <a:pt x="23" y="59"/>
                        </a:lnTo>
                        <a:lnTo>
                          <a:pt x="23" y="59"/>
                        </a:lnTo>
                        <a:lnTo>
                          <a:pt x="31" y="70"/>
                        </a:lnTo>
                        <a:lnTo>
                          <a:pt x="40" y="78"/>
                        </a:lnTo>
                        <a:lnTo>
                          <a:pt x="51" y="83"/>
                        </a:lnTo>
                        <a:lnTo>
                          <a:pt x="63" y="86"/>
                        </a:lnTo>
                        <a:lnTo>
                          <a:pt x="74" y="88"/>
                        </a:lnTo>
                        <a:lnTo>
                          <a:pt x="85" y="86"/>
                        </a:lnTo>
                        <a:lnTo>
                          <a:pt x="96" y="85"/>
                        </a:lnTo>
                        <a:lnTo>
                          <a:pt x="106" y="81"/>
                        </a:lnTo>
                        <a:lnTo>
                          <a:pt x="106" y="81"/>
                        </a:lnTo>
                        <a:lnTo>
                          <a:pt x="107" y="81"/>
                        </a:lnTo>
                        <a:lnTo>
                          <a:pt x="107" y="81"/>
                        </a:lnTo>
                        <a:lnTo>
                          <a:pt x="107" y="81"/>
                        </a:lnTo>
                        <a:lnTo>
                          <a:pt x="111" y="80"/>
                        </a:lnTo>
                        <a:lnTo>
                          <a:pt x="111" y="80"/>
                        </a:lnTo>
                        <a:lnTo>
                          <a:pt x="112" y="78"/>
                        </a:lnTo>
                        <a:lnTo>
                          <a:pt x="112" y="78"/>
                        </a:lnTo>
                        <a:lnTo>
                          <a:pt x="112" y="78"/>
                        </a:lnTo>
                        <a:lnTo>
                          <a:pt x="112" y="78"/>
                        </a:lnTo>
                        <a:lnTo>
                          <a:pt x="134" y="67"/>
                        </a:lnTo>
                        <a:lnTo>
                          <a:pt x="134" y="67"/>
                        </a:lnTo>
                        <a:lnTo>
                          <a:pt x="146" y="64"/>
                        </a:lnTo>
                        <a:lnTo>
                          <a:pt x="155" y="64"/>
                        </a:lnTo>
                        <a:lnTo>
                          <a:pt x="163" y="65"/>
                        </a:lnTo>
                        <a:lnTo>
                          <a:pt x="170" y="69"/>
                        </a:lnTo>
                        <a:lnTo>
                          <a:pt x="176" y="72"/>
                        </a:lnTo>
                        <a:lnTo>
                          <a:pt x="179" y="77"/>
                        </a:lnTo>
                        <a:lnTo>
                          <a:pt x="182" y="83"/>
                        </a:lnTo>
                        <a:lnTo>
                          <a:pt x="198" y="110"/>
                        </a:lnTo>
                        <a:lnTo>
                          <a:pt x="198" y="110"/>
                        </a:lnTo>
                        <a:lnTo>
                          <a:pt x="189" y="118"/>
                        </a:lnTo>
                        <a:lnTo>
                          <a:pt x="181" y="125"/>
                        </a:lnTo>
                        <a:lnTo>
                          <a:pt x="166" y="141"/>
                        </a:lnTo>
                        <a:lnTo>
                          <a:pt x="155" y="158"/>
                        </a:lnTo>
                        <a:lnTo>
                          <a:pt x="147" y="177"/>
                        </a:lnTo>
                        <a:lnTo>
                          <a:pt x="144" y="198"/>
                        </a:lnTo>
                        <a:lnTo>
                          <a:pt x="142" y="208"/>
                        </a:lnTo>
                        <a:lnTo>
                          <a:pt x="142" y="217"/>
                        </a:lnTo>
                        <a:lnTo>
                          <a:pt x="144" y="227"/>
                        </a:lnTo>
                        <a:lnTo>
                          <a:pt x="147" y="236"/>
                        </a:lnTo>
                        <a:lnTo>
                          <a:pt x="150" y="246"/>
                        </a:lnTo>
                        <a:lnTo>
                          <a:pt x="155" y="256"/>
                        </a:lnTo>
                        <a:lnTo>
                          <a:pt x="249" y="412"/>
                        </a:lnTo>
                        <a:lnTo>
                          <a:pt x="249" y="412"/>
                        </a:lnTo>
                        <a:lnTo>
                          <a:pt x="259" y="425"/>
                        </a:lnTo>
                        <a:lnTo>
                          <a:pt x="269" y="434"/>
                        </a:lnTo>
                        <a:lnTo>
                          <a:pt x="278" y="444"/>
                        </a:lnTo>
                        <a:lnTo>
                          <a:pt x="291" y="450"/>
                        </a:lnTo>
                        <a:lnTo>
                          <a:pt x="302" y="457"/>
                        </a:lnTo>
                        <a:lnTo>
                          <a:pt x="315" y="462"/>
                        </a:lnTo>
                        <a:lnTo>
                          <a:pt x="329" y="463"/>
                        </a:lnTo>
                        <a:lnTo>
                          <a:pt x="342" y="465"/>
                        </a:lnTo>
                        <a:lnTo>
                          <a:pt x="342" y="465"/>
                        </a:lnTo>
                        <a:lnTo>
                          <a:pt x="357" y="463"/>
                        </a:lnTo>
                        <a:lnTo>
                          <a:pt x="371" y="462"/>
                        </a:lnTo>
                        <a:lnTo>
                          <a:pt x="384" y="457"/>
                        </a:lnTo>
                        <a:lnTo>
                          <a:pt x="398" y="450"/>
                        </a:lnTo>
                        <a:lnTo>
                          <a:pt x="398" y="450"/>
                        </a:lnTo>
                        <a:lnTo>
                          <a:pt x="408" y="444"/>
                        </a:lnTo>
                        <a:lnTo>
                          <a:pt x="417" y="438"/>
                        </a:lnTo>
                        <a:lnTo>
                          <a:pt x="424" y="430"/>
                        </a:lnTo>
                        <a:lnTo>
                          <a:pt x="432" y="422"/>
                        </a:lnTo>
                        <a:lnTo>
                          <a:pt x="438" y="414"/>
                        </a:lnTo>
                        <a:lnTo>
                          <a:pt x="443" y="406"/>
                        </a:lnTo>
                        <a:lnTo>
                          <a:pt x="448" y="396"/>
                        </a:lnTo>
                        <a:lnTo>
                          <a:pt x="451" y="387"/>
                        </a:lnTo>
                        <a:lnTo>
                          <a:pt x="454" y="377"/>
                        </a:lnTo>
                        <a:lnTo>
                          <a:pt x="456" y="367"/>
                        </a:lnTo>
                        <a:lnTo>
                          <a:pt x="456" y="358"/>
                        </a:lnTo>
                        <a:lnTo>
                          <a:pt x="456" y="347"/>
                        </a:lnTo>
                        <a:lnTo>
                          <a:pt x="454" y="335"/>
                        </a:lnTo>
                        <a:lnTo>
                          <a:pt x="452" y="326"/>
                        </a:lnTo>
                        <a:lnTo>
                          <a:pt x="449" y="315"/>
                        </a:lnTo>
                        <a:lnTo>
                          <a:pt x="444" y="303"/>
                        </a:lnTo>
                        <a:lnTo>
                          <a:pt x="444" y="303"/>
                        </a:lnTo>
                        <a:close/>
                        <a:moveTo>
                          <a:pt x="388" y="433"/>
                        </a:moveTo>
                        <a:lnTo>
                          <a:pt x="388" y="433"/>
                        </a:lnTo>
                        <a:lnTo>
                          <a:pt x="377" y="439"/>
                        </a:lnTo>
                        <a:lnTo>
                          <a:pt x="366" y="442"/>
                        </a:lnTo>
                        <a:lnTo>
                          <a:pt x="353" y="446"/>
                        </a:lnTo>
                        <a:lnTo>
                          <a:pt x="342" y="446"/>
                        </a:lnTo>
                        <a:lnTo>
                          <a:pt x="342" y="446"/>
                        </a:lnTo>
                        <a:lnTo>
                          <a:pt x="331" y="446"/>
                        </a:lnTo>
                        <a:lnTo>
                          <a:pt x="320" y="442"/>
                        </a:lnTo>
                        <a:lnTo>
                          <a:pt x="310" y="439"/>
                        </a:lnTo>
                        <a:lnTo>
                          <a:pt x="299" y="434"/>
                        </a:lnTo>
                        <a:lnTo>
                          <a:pt x="289" y="428"/>
                        </a:lnTo>
                        <a:lnTo>
                          <a:pt x="281" y="422"/>
                        </a:lnTo>
                        <a:lnTo>
                          <a:pt x="273" y="412"/>
                        </a:lnTo>
                        <a:lnTo>
                          <a:pt x="265" y="402"/>
                        </a:lnTo>
                        <a:lnTo>
                          <a:pt x="171" y="246"/>
                        </a:lnTo>
                        <a:lnTo>
                          <a:pt x="171" y="246"/>
                        </a:lnTo>
                        <a:lnTo>
                          <a:pt x="168" y="238"/>
                        </a:lnTo>
                        <a:lnTo>
                          <a:pt x="165" y="230"/>
                        </a:lnTo>
                        <a:lnTo>
                          <a:pt x="163" y="222"/>
                        </a:lnTo>
                        <a:lnTo>
                          <a:pt x="162" y="212"/>
                        </a:lnTo>
                        <a:lnTo>
                          <a:pt x="163" y="196"/>
                        </a:lnTo>
                        <a:lnTo>
                          <a:pt x="166" y="179"/>
                        </a:lnTo>
                        <a:lnTo>
                          <a:pt x="174" y="163"/>
                        </a:lnTo>
                        <a:lnTo>
                          <a:pt x="186" y="147"/>
                        </a:lnTo>
                        <a:lnTo>
                          <a:pt x="198" y="134"/>
                        </a:lnTo>
                        <a:lnTo>
                          <a:pt x="216" y="123"/>
                        </a:lnTo>
                        <a:lnTo>
                          <a:pt x="216" y="123"/>
                        </a:lnTo>
                        <a:lnTo>
                          <a:pt x="227" y="117"/>
                        </a:lnTo>
                        <a:lnTo>
                          <a:pt x="242" y="112"/>
                        </a:lnTo>
                        <a:lnTo>
                          <a:pt x="254" y="110"/>
                        </a:lnTo>
                        <a:lnTo>
                          <a:pt x="269" y="109"/>
                        </a:lnTo>
                        <a:lnTo>
                          <a:pt x="269" y="109"/>
                        </a:lnTo>
                        <a:lnTo>
                          <a:pt x="280" y="109"/>
                        </a:lnTo>
                        <a:lnTo>
                          <a:pt x="291" y="112"/>
                        </a:lnTo>
                        <a:lnTo>
                          <a:pt x="302" y="115"/>
                        </a:lnTo>
                        <a:lnTo>
                          <a:pt x="313" y="120"/>
                        </a:lnTo>
                        <a:lnTo>
                          <a:pt x="321" y="126"/>
                        </a:lnTo>
                        <a:lnTo>
                          <a:pt x="331" y="133"/>
                        </a:lnTo>
                        <a:lnTo>
                          <a:pt x="337" y="141"/>
                        </a:lnTo>
                        <a:lnTo>
                          <a:pt x="344" y="150"/>
                        </a:lnTo>
                        <a:lnTo>
                          <a:pt x="427" y="311"/>
                        </a:lnTo>
                        <a:lnTo>
                          <a:pt x="427" y="311"/>
                        </a:lnTo>
                        <a:lnTo>
                          <a:pt x="433" y="329"/>
                        </a:lnTo>
                        <a:lnTo>
                          <a:pt x="436" y="347"/>
                        </a:lnTo>
                        <a:lnTo>
                          <a:pt x="436" y="364"/>
                        </a:lnTo>
                        <a:lnTo>
                          <a:pt x="433" y="382"/>
                        </a:lnTo>
                        <a:lnTo>
                          <a:pt x="427" y="396"/>
                        </a:lnTo>
                        <a:lnTo>
                          <a:pt x="417" y="410"/>
                        </a:lnTo>
                        <a:lnTo>
                          <a:pt x="404" y="423"/>
                        </a:lnTo>
                        <a:lnTo>
                          <a:pt x="388" y="433"/>
                        </a:lnTo>
                        <a:lnTo>
                          <a:pt x="388" y="43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grpSp>
            <p:sp>
              <p:nvSpPr>
                <p:cNvPr id="24" name="Rectangle 23"/>
                <p:cNvSpPr/>
                <p:nvPr/>
              </p:nvSpPr>
              <p:spPr bwMode="auto">
                <a:xfrm>
                  <a:off x="-2123037" y="-299405"/>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Get started for free at </a:t>
                  </a: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hlinkClick r:id="rId5"/>
                    </a:rPr>
                    <a:t>http://</a:t>
                  </a:r>
                  <a:r>
                    <a:rPr kumimoji="0" lang="en-US" sz="2000" b="0" i="0" u="none" strike="noStrike" kern="1200" cap="none" spc="-98" normalizeH="0" baseline="0" noProof="0" dirty="0">
                      <a:ln>
                        <a:noFill/>
                      </a:ln>
                      <a:gradFill>
                        <a:gsLst>
                          <a:gs pos="93333">
                            <a:prstClr val="white"/>
                          </a:gs>
                          <a:gs pos="78667">
                            <a:prstClr val="white"/>
                          </a:gs>
                        </a:gsLst>
                        <a:lin ang="5400000" scaled="0"/>
                      </a:gradFill>
                      <a:effectLst/>
                      <a:uLnTx/>
                      <a:uFillTx/>
                      <a:latin typeface="Segoe UI"/>
                      <a:ea typeface="+mn-ea"/>
                      <a:cs typeface="+mn-cs"/>
                      <a:hlinkClick r:id="rId5"/>
                    </a:rPr>
                    <a:t>azure.com/Cognitive</a:t>
                  </a:r>
                  <a:r>
                    <a:rPr kumimoji="0" lang="en-US" sz="2000" b="0" i="0" u="none" strike="noStrike" kern="1200" cap="none" spc="-98" normalizeH="0" baseline="0" noProof="0" dirty="0">
                      <a:ln>
                        <a:noFill/>
                      </a:ln>
                      <a:gradFill>
                        <a:gsLst>
                          <a:gs pos="93333">
                            <a:prstClr val="white"/>
                          </a:gs>
                          <a:gs pos="78667">
                            <a:prstClr val="white"/>
                          </a:gs>
                        </a:gsLst>
                        <a:lin ang="5400000" scaled="0"/>
                      </a:gradFill>
                      <a:effectLst/>
                      <a:uLnTx/>
                      <a:uFillTx/>
                      <a:latin typeface="Segoe UI"/>
                      <a:ea typeface="+mn-ea"/>
                      <a:cs typeface="+mn-cs"/>
                    </a:rPr>
                    <a:t> </a:t>
                  </a:r>
                  <a:endPar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endParaRPr>
                </a:p>
              </p:txBody>
            </p:sp>
          </p:grpSp>
          <p:grpSp>
            <p:nvGrpSpPr>
              <p:cNvPr id="27" name="Group 26"/>
              <p:cNvGrpSpPr/>
              <p:nvPr/>
            </p:nvGrpSpPr>
            <p:grpSpPr>
              <a:xfrm>
                <a:off x="918686" y="878292"/>
                <a:ext cx="347246" cy="425294"/>
                <a:chOff x="1230732" y="950786"/>
                <a:chExt cx="243376" cy="298078"/>
              </a:xfrm>
            </p:grpSpPr>
            <p:sp>
              <p:nvSpPr>
                <p:cNvPr id="26" name="Freeform 40"/>
                <p:cNvSpPr>
                  <a:spLocks noEditPoints="1"/>
                </p:cNvSpPr>
                <p:nvPr/>
              </p:nvSpPr>
              <p:spPr bwMode="auto">
                <a:xfrm>
                  <a:off x="1230732" y="950786"/>
                  <a:ext cx="243376" cy="298078"/>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 name="Rectangle 2"/>
                <p:cNvSpPr/>
                <p:nvPr/>
              </p:nvSpPr>
              <p:spPr bwMode="auto">
                <a:xfrm>
                  <a:off x="1270548" y="1064419"/>
                  <a:ext cx="173488" cy="92869"/>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426247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0C461-AD73-4742-B526-CD846DA26969}"/>
              </a:ext>
            </a:extLst>
          </p:cNvPr>
          <p:cNvSpPr>
            <a:spLocks noGrp="1"/>
          </p:cNvSpPr>
          <p:nvPr>
            <p:ph type="title"/>
          </p:nvPr>
        </p:nvSpPr>
        <p:spPr>
          <a:xfrm>
            <a:off x="269240" y="3895726"/>
            <a:ext cx="3743960" cy="1828800"/>
          </a:xfrm>
        </p:spPr>
        <p:txBody>
          <a:bodyPr/>
          <a:lstStyle/>
          <a:p>
            <a:r>
              <a:rPr lang="en-US" dirty="0"/>
              <a:t>Developer </a:t>
            </a:r>
            <a:br>
              <a:rPr lang="en-US" dirty="0"/>
            </a:br>
            <a:r>
              <a:rPr lang="en-US" dirty="0"/>
              <a:t>resources</a:t>
            </a:r>
          </a:p>
        </p:txBody>
      </p:sp>
      <p:sp>
        <p:nvSpPr>
          <p:cNvPr id="35" name="Rectangle 34">
            <a:extLst>
              <a:ext uri="{FF2B5EF4-FFF2-40B4-BE49-F238E27FC236}">
                <a16:creationId xmlns:a16="http://schemas.microsoft.com/office/drawing/2014/main" id="{30330D68-BC54-4596-B072-5EF8EF56ABA9}"/>
              </a:ext>
            </a:extLst>
          </p:cNvPr>
          <p:cNvSpPr/>
          <p:nvPr/>
        </p:nvSpPr>
        <p:spPr bwMode="auto">
          <a:xfrm>
            <a:off x="5334351" y="488"/>
            <a:ext cx="6857650" cy="6855127"/>
          </a:xfrm>
          <a:prstGeom prst="rect">
            <a:avLst/>
          </a:prstGeom>
          <a:solidFill>
            <a:sysClr val="window" lastClr="FFFFFF">
              <a:lumMod val="95000"/>
            </a:sys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Content Placeholder 6">
            <a:extLst>
              <a:ext uri="{FF2B5EF4-FFF2-40B4-BE49-F238E27FC236}">
                <a16:creationId xmlns:a16="http://schemas.microsoft.com/office/drawing/2014/main" id="{DA79D59A-A582-4A1F-B754-8C6238EA5941}"/>
              </a:ext>
            </a:extLst>
          </p:cNvPr>
          <p:cNvSpPr txBox="1">
            <a:spLocks/>
          </p:cNvSpPr>
          <p:nvPr/>
        </p:nvSpPr>
        <p:spPr>
          <a:xfrm>
            <a:off x="5583980" y="344431"/>
            <a:ext cx="6608020" cy="789731"/>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0"/>
              </a:spcBef>
              <a:buSzPct val="120000"/>
              <a:buFont typeface="Arial" panose="020B0604020202020204" pitchFamily="34" charset="0"/>
              <a:buNone/>
            </a:pPr>
            <a:r>
              <a:rPr lang="en-US" sz="1961" b="1">
                <a:gradFill>
                  <a:gsLst>
                    <a:gs pos="7273">
                      <a:srgbClr val="002050"/>
                    </a:gs>
                    <a:gs pos="22000">
                      <a:srgbClr val="002050"/>
                    </a:gs>
                  </a:gsLst>
                  <a:lin ang="5400000" scaled="0"/>
                </a:gradFill>
                <a:cs typeface="Segoe UI" panose="020B0502040204020203" pitchFamily="34" charset="0"/>
              </a:rPr>
              <a:t>Pricing</a:t>
            </a:r>
          </a:p>
          <a:p>
            <a:pPr marL="0" indent="-8830">
              <a:spcBef>
                <a:spcPts val="294"/>
              </a:spcBef>
              <a:buSzPct val="120000"/>
              <a:buFont typeface="Arial" panose="020B0604020202020204" pitchFamily="34" charset="0"/>
              <a:buNone/>
            </a:pPr>
            <a:r>
              <a:rPr lang="en-US" sz="1372">
                <a:gradFill>
                  <a:gsLst>
                    <a:gs pos="10909">
                      <a:srgbClr val="3F3F3F"/>
                    </a:gs>
                    <a:gs pos="43000">
                      <a:srgbClr val="3F3F3F"/>
                    </a:gs>
                  </a:gsLst>
                  <a:lin ang="5400000" scaled="0"/>
                </a:gradFill>
                <a:cs typeface="Segoe UI" panose="020B0502040204020203" pitchFamily="34" charset="0"/>
              </a:rPr>
              <a:t>https://azure.microsoft.com/en-us/pricing/details/cognitive-services/</a:t>
            </a:r>
            <a:endParaRPr lang="en-US" sz="2157">
              <a:gradFill>
                <a:gsLst>
                  <a:gs pos="10909">
                    <a:srgbClr val="3F3F3F"/>
                  </a:gs>
                  <a:gs pos="43000">
                    <a:srgbClr val="3F3F3F"/>
                  </a:gs>
                </a:gsLst>
                <a:lin ang="5400000" scaled="0"/>
              </a:gradFill>
              <a:cs typeface="Segoe UI" panose="020B0502040204020203" pitchFamily="34" charset="0"/>
            </a:endParaRPr>
          </a:p>
        </p:txBody>
      </p:sp>
      <p:sp>
        <p:nvSpPr>
          <p:cNvPr id="37" name="Content Placeholder 6">
            <a:extLst>
              <a:ext uri="{FF2B5EF4-FFF2-40B4-BE49-F238E27FC236}">
                <a16:creationId xmlns:a16="http://schemas.microsoft.com/office/drawing/2014/main" id="{8E9B5726-2527-437A-AE38-7DD58CF3C0E2}"/>
              </a:ext>
            </a:extLst>
          </p:cNvPr>
          <p:cNvSpPr txBox="1">
            <a:spLocks/>
          </p:cNvSpPr>
          <p:nvPr/>
        </p:nvSpPr>
        <p:spPr>
          <a:xfrm>
            <a:off x="5583980" y="1475703"/>
            <a:ext cx="6608020" cy="789015"/>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Documentation</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docs.microsoft.com/en-us/azure/#pivot=products&amp;panel=cognitive</a:t>
            </a:r>
          </a:p>
        </p:txBody>
      </p:sp>
      <p:sp>
        <p:nvSpPr>
          <p:cNvPr id="38" name="Content Placeholder 6">
            <a:extLst>
              <a:ext uri="{FF2B5EF4-FFF2-40B4-BE49-F238E27FC236}">
                <a16:creationId xmlns:a16="http://schemas.microsoft.com/office/drawing/2014/main" id="{719CF955-62E4-4604-B2E8-58A0223A96D7}"/>
              </a:ext>
            </a:extLst>
          </p:cNvPr>
          <p:cNvSpPr txBox="1">
            <a:spLocks/>
          </p:cNvSpPr>
          <p:nvPr/>
        </p:nvSpPr>
        <p:spPr>
          <a:xfrm>
            <a:off x="5583980" y="2655730"/>
            <a:ext cx="6608020" cy="1169189"/>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a:gradFill>
                  <a:gsLst>
                    <a:gs pos="7273">
                      <a:srgbClr val="002050"/>
                    </a:gs>
                    <a:gs pos="22000">
                      <a:srgbClr val="002050"/>
                    </a:gs>
                  </a:gsLst>
                  <a:lin ang="5400000" scaled="0"/>
                </a:gradFill>
                <a:cs typeface="Segoe UI" panose="020B0502040204020203" pitchFamily="34" charset="0"/>
              </a:rPr>
              <a:t>Client</a:t>
            </a:r>
            <a:r>
              <a:rPr lang="en-US" sz="1961" b="1">
                <a:gradFill>
                  <a:gsLst>
                    <a:gs pos="10909">
                      <a:srgbClr val="3F3F3F"/>
                    </a:gs>
                    <a:gs pos="43000">
                      <a:srgbClr val="3F3F3F"/>
                    </a:gs>
                  </a:gsLst>
                  <a:lin ang="5400000" scaled="0"/>
                </a:gradFill>
                <a:cs typeface="Segoe UI" panose="020B0502040204020203" pitchFamily="34" charset="0"/>
              </a:rPr>
              <a:t> </a:t>
            </a:r>
            <a:r>
              <a:rPr lang="en-US" sz="1961" b="1">
                <a:gradFill>
                  <a:gsLst>
                    <a:gs pos="7273">
                      <a:srgbClr val="002050"/>
                    </a:gs>
                    <a:gs pos="22000">
                      <a:srgbClr val="002050"/>
                    </a:gs>
                  </a:gsLst>
                  <a:lin ang="5400000" scaled="0"/>
                </a:gradFill>
                <a:cs typeface="Segoe UI" panose="020B0502040204020203" pitchFamily="34" charset="0"/>
              </a:rPr>
              <a:t>SDKs</a:t>
            </a:r>
          </a:p>
          <a:p>
            <a:pPr marL="0" lvl="1" indent="-8830">
              <a:spcBef>
                <a:spcPts val="294"/>
              </a:spcBef>
              <a:buSzPct val="120000"/>
              <a:buFont typeface="Arial" panose="020B0604020202020204" pitchFamily="34" charset="0"/>
              <a:buNone/>
            </a:pPr>
            <a:r>
              <a:rPr lang="en-US" sz="1372">
                <a:gradFill>
                  <a:gsLst>
                    <a:gs pos="10909">
                      <a:srgbClr val="3F3F3F"/>
                    </a:gs>
                    <a:gs pos="43000">
                      <a:srgbClr val="3F3F3F"/>
                    </a:gs>
                  </a:gsLst>
                  <a:lin ang="5400000" scaled="0"/>
                </a:gradFill>
                <a:cs typeface="Segoe UI" panose="020B0502040204020203" pitchFamily="34" charset="0"/>
              </a:rPr>
              <a:t>https://azure.microsoft.com/en-us/resources/samples/?sort=0&amp;term=cognitive+services https://github.com/southwood/project-oxford-python </a:t>
            </a:r>
          </a:p>
        </p:txBody>
      </p:sp>
      <p:sp>
        <p:nvSpPr>
          <p:cNvPr id="39" name="Content Placeholder 6">
            <a:extLst>
              <a:ext uri="{FF2B5EF4-FFF2-40B4-BE49-F238E27FC236}">
                <a16:creationId xmlns:a16="http://schemas.microsoft.com/office/drawing/2014/main" id="{C4CC7AFD-965D-49AE-A4C7-C9482B37B18C}"/>
              </a:ext>
            </a:extLst>
          </p:cNvPr>
          <p:cNvSpPr txBox="1">
            <a:spLocks/>
          </p:cNvSpPr>
          <p:nvPr/>
        </p:nvSpPr>
        <p:spPr>
          <a:xfrm>
            <a:off x="5583980" y="3990417"/>
            <a:ext cx="6608020" cy="1208307"/>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a:gradFill>
                  <a:gsLst>
                    <a:gs pos="7273">
                      <a:srgbClr val="002050"/>
                    </a:gs>
                    <a:gs pos="22000">
                      <a:srgbClr val="002050"/>
                    </a:gs>
                  </a:gsLst>
                  <a:lin ang="5400000" scaled="0"/>
                </a:gradFill>
                <a:cs typeface="Segoe UI" panose="020B0502040204020203" pitchFamily="34" charset="0"/>
              </a:rPr>
              <a:t>Example</a:t>
            </a:r>
            <a:r>
              <a:rPr lang="en-US" sz="1961" b="1">
                <a:gradFill>
                  <a:gsLst>
                    <a:gs pos="10909">
                      <a:srgbClr val="3F3F3F"/>
                    </a:gs>
                    <a:gs pos="43000">
                      <a:srgbClr val="3F3F3F"/>
                    </a:gs>
                  </a:gsLst>
                  <a:lin ang="5400000" scaled="0"/>
                </a:gradFill>
                <a:cs typeface="Segoe UI" panose="020B0502040204020203" pitchFamily="34" charset="0"/>
              </a:rPr>
              <a:t> </a:t>
            </a:r>
            <a:r>
              <a:rPr lang="en-US" sz="1961" b="1">
                <a:gradFill>
                  <a:gsLst>
                    <a:gs pos="7273">
                      <a:srgbClr val="002050"/>
                    </a:gs>
                    <a:gs pos="22000">
                      <a:srgbClr val="002050"/>
                    </a:gs>
                  </a:gsLst>
                  <a:lin ang="5400000" scaled="0"/>
                </a:gradFill>
                <a:cs typeface="Segoe UI" panose="020B0502040204020203" pitchFamily="34" charset="0"/>
              </a:rPr>
              <a:t>Code</a:t>
            </a:r>
          </a:p>
          <a:p>
            <a:pPr marL="0" lvl="1" indent="-8830">
              <a:spcBef>
                <a:spcPts val="294"/>
              </a:spcBef>
              <a:buSzPct val="120000"/>
              <a:buFont typeface="Arial" panose="020B0604020202020204" pitchFamily="34" charset="0"/>
              <a:buNone/>
            </a:pPr>
            <a:r>
              <a:rPr lang="en-US" sz="1372">
                <a:gradFill>
                  <a:gsLst>
                    <a:gs pos="10909">
                      <a:srgbClr val="3F3F3F"/>
                    </a:gs>
                    <a:gs pos="43000">
                      <a:srgbClr val="3F3F3F"/>
                    </a:gs>
                  </a:gsLst>
                  <a:lin ang="5400000" scaled="0"/>
                </a:gradFill>
                <a:cs typeface="Segoe UI" panose="020B0502040204020203" pitchFamily="34" charset="0"/>
              </a:rPr>
              <a:t>https://github.com/jsturtevant/happy-image-tester-django </a:t>
            </a:r>
          </a:p>
          <a:p>
            <a:pPr marL="0" lvl="1" indent="-8830">
              <a:spcBef>
                <a:spcPts val="294"/>
              </a:spcBef>
              <a:buSzPct val="120000"/>
              <a:buFont typeface="Arial" panose="020B0604020202020204" pitchFamily="34" charset="0"/>
              <a:buNone/>
            </a:pPr>
            <a:r>
              <a:rPr lang="en-US" sz="1372">
                <a:gradFill>
                  <a:gsLst>
                    <a:gs pos="10909">
                      <a:srgbClr val="3F3F3F"/>
                    </a:gs>
                    <a:gs pos="43000">
                      <a:srgbClr val="3F3F3F"/>
                    </a:gs>
                  </a:gsLst>
                  <a:lin ang="5400000" scaled="0"/>
                </a:gradFill>
                <a:cs typeface="Segoe UI" panose="020B0502040204020203" pitchFamily="34" charset="0"/>
              </a:rPr>
              <a:t>https://github.com/Microsoft/Cognitive-Face-Android https://github.com/Microsoft/Cognitive-Samples-IntelligentKiosk</a:t>
            </a:r>
          </a:p>
        </p:txBody>
      </p:sp>
      <p:sp>
        <p:nvSpPr>
          <p:cNvPr id="40" name="Content Placeholder 6">
            <a:extLst>
              <a:ext uri="{FF2B5EF4-FFF2-40B4-BE49-F238E27FC236}">
                <a16:creationId xmlns:a16="http://schemas.microsoft.com/office/drawing/2014/main" id="{643398A0-B78D-49F7-A324-109FCE55B877}"/>
              </a:ext>
            </a:extLst>
          </p:cNvPr>
          <p:cNvSpPr txBox="1">
            <a:spLocks/>
          </p:cNvSpPr>
          <p:nvPr/>
        </p:nvSpPr>
        <p:spPr>
          <a:xfrm>
            <a:off x="5583980" y="5380884"/>
            <a:ext cx="6608020" cy="1016818"/>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a:gradFill>
                  <a:gsLst>
                    <a:gs pos="7273">
                      <a:srgbClr val="002050"/>
                    </a:gs>
                    <a:gs pos="22000">
                      <a:srgbClr val="002050"/>
                    </a:gs>
                  </a:gsLst>
                  <a:lin ang="5400000" scaled="0"/>
                </a:gradFill>
                <a:cs typeface="Segoe UI" panose="020B0502040204020203" pitchFamily="34" charset="0"/>
              </a:rPr>
              <a:t>Join</a:t>
            </a:r>
            <a:r>
              <a:rPr lang="en-US" sz="1961" b="1">
                <a:gradFill>
                  <a:gsLst>
                    <a:gs pos="10909">
                      <a:srgbClr val="3F3F3F"/>
                    </a:gs>
                    <a:gs pos="43000">
                      <a:srgbClr val="3F3F3F"/>
                    </a:gs>
                  </a:gsLst>
                  <a:lin ang="5400000" scaled="0"/>
                </a:gradFill>
                <a:cs typeface="Segoe UI" panose="020B0502040204020203" pitchFamily="34" charset="0"/>
              </a:rPr>
              <a:t> </a:t>
            </a:r>
            <a:r>
              <a:rPr lang="en-US" sz="1961" b="1">
                <a:gradFill>
                  <a:gsLst>
                    <a:gs pos="7273">
                      <a:srgbClr val="002050"/>
                    </a:gs>
                    <a:gs pos="22000">
                      <a:srgbClr val="002050"/>
                    </a:gs>
                  </a:gsLst>
                  <a:lin ang="5400000" scaled="0"/>
                </a:gradFill>
                <a:cs typeface="Segoe UI" panose="020B0502040204020203" pitchFamily="34" charset="0"/>
              </a:rPr>
              <a:t>Our</a:t>
            </a:r>
            <a:r>
              <a:rPr lang="en-US" sz="1961" b="1">
                <a:gradFill>
                  <a:gsLst>
                    <a:gs pos="10909">
                      <a:srgbClr val="3F3F3F"/>
                    </a:gs>
                    <a:gs pos="43000">
                      <a:srgbClr val="3F3F3F"/>
                    </a:gs>
                  </a:gsLst>
                  <a:lin ang="5400000" scaled="0"/>
                </a:gradFill>
                <a:cs typeface="Segoe UI" panose="020B0502040204020203" pitchFamily="34" charset="0"/>
              </a:rPr>
              <a:t> </a:t>
            </a:r>
            <a:r>
              <a:rPr lang="en-US" sz="1961" b="1">
                <a:gradFill>
                  <a:gsLst>
                    <a:gs pos="7273">
                      <a:srgbClr val="002050"/>
                    </a:gs>
                    <a:gs pos="22000">
                      <a:srgbClr val="002050"/>
                    </a:gs>
                  </a:gsLst>
                  <a:lin ang="5400000" scaled="0"/>
                </a:gradFill>
                <a:cs typeface="Segoe UI" panose="020B0502040204020203" pitchFamily="34" charset="0"/>
              </a:rPr>
              <a:t>Community</a:t>
            </a:r>
          </a:p>
          <a:p>
            <a:pPr marL="0" lvl="1" indent="-8830">
              <a:spcBef>
                <a:spcPts val="294"/>
              </a:spcBef>
              <a:buSzPct val="120000"/>
              <a:buFont typeface="Arial" panose="020B0604020202020204" pitchFamily="34" charset="0"/>
              <a:buNone/>
            </a:pPr>
            <a:r>
              <a:rPr lang="en-US" sz="1372">
                <a:gradFill>
                  <a:gsLst>
                    <a:gs pos="10909">
                      <a:srgbClr val="3F3F3F"/>
                    </a:gs>
                    <a:gs pos="43000">
                      <a:srgbClr val="3F3F3F"/>
                    </a:gs>
                  </a:gsLst>
                  <a:lin ang="5400000" scaled="0"/>
                </a:gradFill>
                <a:cs typeface="Segoe UI" panose="020B0502040204020203" pitchFamily="34" charset="0"/>
              </a:rPr>
              <a:t>https://stackoverflow.com/questions/tagged/microsoft-cognitive</a:t>
            </a:r>
          </a:p>
          <a:p>
            <a:pPr marL="0" lvl="1" indent="-8830">
              <a:spcBef>
                <a:spcPts val="294"/>
              </a:spcBef>
              <a:buSzPct val="120000"/>
              <a:buFont typeface="Arial" panose="020B0604020202020204" pitchFamily="34" charset="0"/>
              <a:buNone/>
            </a:pPr>
            <a:r>
              <a:rPr lang="en-US" sz="1372">
                <a:gradFill>
                  <a:gsLst>
                    <a:gs pos="10909">
                      <a:srgbClr val="3F3F3F"/>
                    </a:gs>
                    <a:gs pos="43000">
                      <a:srgbClr val="3F3F3F"/>
                    </a:gs>
                  </a:gsLst>
                  <a:lin ang="5400000" scaled="0"/>
                </a:gradFill>
                <a:cs typeface="Segoe UI" panose="020B0502040204020203" pitchFamily="34" charset="0"/>
              </a:rPr>
              <a:t>https://cognitive.uservoice.com/</a:t>
            </a:r>
          </a:p>
        </p:txBody>
      </p:sp>
      <p:cxnSp>
        <p:nvCxnSpPr>
          <p:cNvPr id="41" name="Straight Connector 40">
            <a:extLst>
              <a:ext uri="{FF2B5EF4-FFF2-40B4-BE49-F238E27FC236}">
                <a16:creationId xmlns:a16="http://schemas.microsoft.com/office/drawing/2014/main" id="{13754B26-051F-44EC-9B4A-7EE02F2B7BB5}"/>
              </a:ext>
            </a:extLst>
          </p:cNvPr>
          <p:cNvCxnSpPr>
            <a:cxnSpLocks/>
          </p:cNvCxnSpPr>
          <p:nvPr/>
        </p:nvCxnSpPr>
        <p:spPr>
          <a:xfrm>
            <a:off x="5313186" y="1289098"/>
            <a:ext cx="6881928" cy="0"/>
          </a:xfrm>
          <a:prstGeom prst="line">
            <a:avLst/>
          </a:prstGeom>
          <a:noFill/>
          <a:ln w="25400" cap="flat" cmpd="sng" algn="ctr">
            <a:solidFill>
              <a:schemeClr val="accent1"/>
            </a:solidFill>
            <a:prstDash val="solid"/>
            <a:headEnd type="none"/>
            <a:tailEnd type="none"/>
          </a:ln>
          <a:effectLst/>
        </p:spPr>
      </p:cxnSp>
      <p:cxnSp>
        <p:nvCxnSpPr>
          <p:cNvPr id="42" name="Straight Connector 41">
            <a:extLst>
              <a:ext uri="{FF2B5EF4-FFF2-40B4-BE49-F238E27FC236}">
                <a16:creationId xmlns:a16="http://schemas.microsoft.com/office/drawing/2014/main" id="{7A4DC865-47A1-48D1-9DAD-B91242B2113B}"/>
              </a:ext>
            </a:extLst>
          </p:cNvPr>
          <p:cNvCxnSpPr>
            <a:cxnSpLocks/>
          </p:cNvCxnSpPr>
          <p:nvPr/>
        </p:nvCxnSpPr>
        <p:spPr>
          <a:xfrm>
            <a:off x="5313186" y="2484331"/>
            <a:ext cx="6881928" cy="0"/>
          </a:xfrm>
          <a:prstGeom prst="line">
            <a:avLst/>
          </a:prstGeom>
          <a:noFill/>
          <a:ln w="25400" cap="flat" cmpd="sng" algn="ctr">
            <a:solidFill>
              <a:schemeClr val="accent1"/>
            </a:solidFill>
            <a:prstDash val="solid"/>
            <a:headEnd type="none"/>
            <a:tailEnd type="none"/>
          </a:ln>
          <a:effectLst/>
        </p:spPr>
      </p:cxnSp>
      <p:cxnSp>
        <p:nvCxnSpPr>
          <p:cNvPr id="43" name="Straight Connector 42">
            <a:extLst>
              <a:ext uri="{FF2B5EF4-FFF2-40B4-BE49-F238E27FC236}">
                <a16:creationId xmlns:a16="http://schemas.microsoft.com/office/drawing/2014/main" id="{CF74AAAA-60D9-4AE7-B35B-DA737A7A9E75}"/>
              </a:ext>
            </a:extLst>
          </p:cNvPr>
          <p:cNvCxnSpPr>
            <a:cxnSpLocks/>
          </p:cNvCxnSpPr>
          <p:nvPr/>
        </p:nvCxnSpPr>
        <p:spPr>
          <a:xfrm>
            <a:off x="5313186" y="3996317"/>
            <a:ext cx="6881928" cy="0"/>
          </a:xfrm>
          <a:prstGeom prst="line">
            <a:avLst/>
          </a:prstGeom>
          <a:noFill/>
          <a:ln w="25400" cap="flat" cmpd="sng" algn="ctr">
            <a:solidFill>
              <a:schemeClr val="accent1"/>
            </a:solidFill>
            <a:prstDash val="solid"/>
            <a:headEnd type="none"/>
            <a:tailEnd type="none"/>
          </a:ln>
          <a:effectLst/>
        </p:spPr>
      </p:cxnSp>
      <p:cxnSp>
        <p:nvCxnSpPr>
          <p:cNvPr id="44" name="Straight Connector 43">
            <a:extLst>
              <a:ext uri="{FF2B5EF4-FFF2-40B4-BE49-F238E27FC236}">
                <a16:creationId xmlns:a16="http://schemas.microsoft.com/office/drawing/2014/main" id="{F2E9428A-BDA0-45B3-8077-D4EF9537B48C}"/>
              </a:ext>
            </a:extLst>
          </p:cNvPr>
          <p:cNvCxnSpPr>
            <a:cxnSpLocks/>
          </p:cNvCxnSpPr>
          <p:nvPr/>
        </p:nvCxnSpPr>
        <p:spPr>
          <a:xfrm>
            <a:off x="5313186" y="5212607"/>
            <a:ext cx="6881928" cy="0"/>
          </a:xfrm>
          <a:prstGeom prst="line">
            <a:avLst/>
          </a:prstGeom>
          <a:noFill/>
          <a:ln w="25400" cap="flat" cmpd="sng" algn="ctr">
            <a:solidFill>
              <a:schemeClr val="accent1"/>
            </a:solidFill>
            <a:prstDash val="solid"/>
            <a:headEnd type="none"/>
            <a:tailEnd type="none"/>
          </a:ln>
          <a:effectLst/>
        </p:spPr>
      </p:cxnSp>
    </p:spTree>
    <p:extLst>
      <p:ext uri="{BB962C8B-B14F-4D97-AF65-F5344CB8AC3E}">
        <p14:creationId xmlns:p14="http://schemas.microsoft.com/office/powerpoint/2010/main" val="7527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nodeType="withEffect">
                                  <p:stCondLst>
                                    <p:cond delay="25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childTnLst>
                          </p:cTn>
                        </p:par>
                        <p:par>
                          <p:cTn id="11" fill="hold">
                            <p:stCondLst>
                              <p:cond delay="750"/>
                            </p:stCondLst>
                            <p:childTnLst>
                              <p:par>
                                <p:cTn id="12" presetID="10" presetClass="entr" presetSubtype="0" fill="hold" grpId="0" nodeType="afterEffect">
                                  <p:stCondLst>
                                    <p:cond delay="0"/>
                                  </p:stCondLst>
                                  <p:childTnLst>
                                    <p:set>
                                      <p:cBhvr>
                                        <p:cTn id="13" dur="1" fill="hold">
                                          <p:stCondLst>
                                            <p:cond delay="0"/>
                                          </p:stCondLst>
                                        </p:cTn>
                                        <p:tgtEl>
                                          <p:spTgt spid="37"/>
                                        </p:tgtEl>
                                        <p:attrNameLst>
                                          <p:attrName>style.visibility</p:attrName>
                                        </p:attrNameLst>
                                      </p:cBhvr>
                                      <p:to>
                                        <p:strVal val="visible"/>
                                      </p:to>
                                    </p:set>
                                    <p:animEffect transition="in" filter="fade">
                                      <p:cBhvr>
                                        <p:cTn id="14" dur="500"/>
                                        <p:tgtEl>
                                          <p:spTgt spid="37"/>
                                        </p:tgtEl>
                                      </p:cBhvr>
                                    </p:animEffect>
                                  </p:childTnLst>
                                </p:cTn>
                              </p:par>
                              <p:par>
                                <p:cTn id="15" presetID="10"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500"/>
                                        <p:tgtEl>
                                          <p:spTgt spid="42"/>
                                        </p:tgtEl>
                                      </p:cBhvr>
                                    </p:animEffect>
                                  </p:childTnLst>
                                </p:cTn>
                              </p:par>
                            </p:childTnLst>
                          </p:cTn>
                        </p:par>
                        <p:par>
                          <p:cTn id="18" fill="hold">
                            <p:stCondLst>
                              <p:cond delay="1250"/>
                            </p:stCondLst>
                            <p:childTnLst>
                              <p:par>
                                <p:cTn id="19" presetID="10" presetClass="entr" presetSubtype="0" fill="hold" grpId="0" nodeType="afterEffect">
                                  <p:stCondLst>
                                    <p:cond delay="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500"/>
                                        <p:tgtEl>
                                          <p:spTgt spid="38"/>
                                        </p:tgtEl>
                                      </p:cBhvr>
                                    </p:animEffect>
                                  </p:childTnLst>
                                </p:cTn>
                              </p:par>
                              <p:par>
                                <p:cTn id="22" presetID="10" presetClass="entr" presetSubtype="0" fill="hold" nodeType="with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500"/>
                                        <p:tgtEl>
                                          <p:spTgt spid="43"/>
                                        </p:tgtEl>
                                      </p:cBhvr>
                                    </p:animEffect>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10" presetClass="entr" presetSubtype="0" fill="hold" nodeType="with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fade">
                                      <p:cBhvr>
                                        <p:cTn id="31" dur="500"/>
                                        <p:tgtEl>
                                          <p:spTgt spid="44"/>
                                        </p:tgtEl>
                                      </p:cBhvr>
                                    </p:animEffect>
                                  </p:childTnLst>
                                </p:cTn>
                              </p:par>
                            </p:childTnLst>
                          </p:cTn>
                        </p:par>
                        <p:par>
                          <p:cTn id="32" fill="hold">
                            <p:stCondLst>
                              <p:cond delay="2250"/>
                            </p:stCondLst>
                            <p:childTnLst>
                              <p:par>
                                <p:cTn id="33" presetID="10" presetClass="entr" presetSubtype="0" fill="hold" grpId="0" nodeType="afterEffect">
                                  <p:stCondLst>
                                    <p:cond delay="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4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srcRect t="31789" b="27258"/>
          <a:stretch/>
        </p:blipFill>
        <p:spPr>
          <a:xfrm>
            <a:off x="866" y="0"/>
            <a:ext cx="12190271" cy="3353212"/>
          </a:xfrm>
          <a:prstGeom prst="rect">
            <a:avLst/>
          </a:prstGeom>
        </p:spPr>
      </p:pic>
      <p:sp>
        <p:nvSpPr>
          <p:cNvPr id="39" name="Rectangle 38"/>
          <p:cNvSpPr/>
          <p:nvPr/>
        </p:nvSpPr>
        <p:spPr bwMode="auto">
          <a:xfrm>
            <a:off x="866" y="0"/>
            <a:ext cx="8190613" cy="3364132"/>
          </a:xfrm>
          <a:prstGeom prst="rect">
            <a:avLst/>
          </a:prstGeom>
          <a:gradFill>
            <a:gsLst>
              <a:gs pos="0">
                <a:schemeClr val="tx1">
                  <a:lumMod val="50000"/>
                  <a:alpha val="0"/>
                </a:schemeClr>
              </a:gs>
              <a:gs pos="100000">
                <a:schemeClr val="tx1">
                  <a:lumMod val="50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TextBox 7"/>
          <p:cNvSpPr txBox="1"/>
          <p:nvPr/>
        </p:nvSpPr>
        <p:spPr>
          <a:xfrm>
            <a:off x="863" y="2844821"/>
            <a:ext cx="4005072" cy="492639"/>
          </a:xfrm>
          <a:prstGeom prst="rect">
            <a:avLst/>
          </a:prstGeom>
          <a:solidFill>
            <a:schemeClr val="accent3"/>
          </a:solidFill>
        </p:spPr>
        <p:txBody>
          <a:bodyPr wrap="none" lIns="594360" tIns="143407" rIns="179259" bIns="143407" rtlCol="0" anchor="ctr">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gradFill>
                  <a:gsLst>
                    <a:gs pos="1250">
                      <a:srgbClr val="FFFFFF"/>
                    </a:gs>
                    <a:gs pos="100000">
                      <a:srgbClr val="FFFFFF"/>
                    </a:gs>
                  </a:gsLst>
                  <a:lin ang="10800000" scaled="0"/>
                </a:gradFill>
                <a:effectLst/>
                <a:uLnTx/>
                <a:uFillTx/>
                <a:latin typeface="Segoe UI" panose="020B0502040204020203" pitchFamily="34" charset="0"/>
                <a:ea typeface="+mn-ea"/>
                <a:cs typeface="Segoe UI" panose="020B0502040204020203" pitchFamily="34" charset="0"/>
              </a:rPr>
              <a:t>Easy</a:t>
            </a:r>
          </a:p>
        </p:txBody>
      </p:sp>
      <p:sp>
        <p:nvSpPr>
          <p:cNvPr id="26" name="TextBox 25"/>
          <p:cNvSpPr txBox="1"/>
          <p:nvPr/>
        </p:nvSpPr>
        <p:spPr>
          <a:xfrm>
            <a:off x="4092518" y="2844821"/>
            <a:ext cx="4005072" cy="492639"/>
          </a:xfrm>
          <a:prstGeom prst="rect">
            <a:avLst/>
          </a:prstGeom>
          <a:solidFill>
            <a:schemeClr val="accent2"/>
          </a:solidFill>
        </p:spPr>
        <p:txBody>
          <a:bodyPr wrap="none" lIns="594360" tIns="143407" rIns="179259" bIns="143407" rtlCol="0" anchor="ctr">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gradFill>
                  <a:gsLst>
                    <a:gs pos="1250">
                      <a:srgbClr val="FFFFFF"/>
                    </a:gs>
                    <a:gs pos="100000">
                      <a:srgbClr val="FFFFFF"/>
                    </a:gs>
                  </a:gsLst>
                  <a:lin ang="10800000" scaled="0"/>
                </a:gradFill>
                <a:effectLst/>
                <a:uLnTx/>
                <a:uFillTx/>
                <a:latin typeface="Segoe UI" panose="020B0502040204020203" pitchFamily="34" charset="0"/>
                <a:ea typeface="+mn-ea"/>
                <a:cs typeface="Segoe UI" panose="020B0502040204020203" pitchFamily="34" charset="0"/>
              </a:rPr>
              <a:t>Flexible</a:t>
            </a:r>
          </a:p>
        </p:txBody>
      </p:sp>
      <p:sp>
        <p:nvSpPr>
          <p:cNvPr id="27" name="TextBox 26"/>
          <p:cNvSpPr txBox="1"/>
          <p:nvPr/>
        </p:nvSpPr>
        <p:spPr>
          <a:xfrm>
            <a:off x="8184172" y="2844821"/>
            <a:ext cx="4005072" cy="492639"/>
          </a:xfrm>
          <a:prstGeom prst="rect">
            <a:avLst/>
          </a:prstGeom>
          <a:solidFill>
            <a:schemeClr val="accent1"/>
          </a:solidFill>
        </p:spPr>
        <p:txBody>
          <a:bodyPr wrap="none" lIns="594360" tIns="143407" rIns="179259" bIns="143407" rtlCol="0" anchor="ctr">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a:gsLst>
                    <a:gs pos="1250">
                      <a:srgbClr val="FFFFFF"/>
                    </a:gs>
                    <a:gs pos="100000">
                      <a:srgbClr val="FFFFFF"/>
                    </a:gs>
                  </a:gsLst>
                  <a:lin ang="10800000" scaled="0"/>
                </a:gradFill>
                <a:effectLst/>
                <a:uLnTx/>
                <a:uFillTx/>
                <a:latin typeface="Segoe UI" panose="020B0502040204020203" pitchFamily="34" charset="0"/>
                <a:ea typeface="+mn-ea"/>
                <a:cs typeface="Segoe UI" panose="020B0502040204020203" pitchFamily="34" charset="0"/>
              </a:rPr>
              <a:t>Tested</a:t>
            </a:r>
          </a:p>
        </p:txBody>
      </p:sp>
      <p:sp>
        <p:nvSpPr>
          <p:cNvPr id="2" name="Title 1"/>
          <p:cNvSpPr>
            <a:spLocks noGrp="1"/>
          </p:cNvSpPr>
          <p:nvPr>
            <p:ph type="title"/>
          </p:nvPr>
        </p:nvSpPr>
        <p:spPr/>
        <p:txBody>
          <a:bodyPr/>
          <a:lstStyle/>
          <a:p>
            <a:r>
              <a:rPr lang="en-US" dirty="0">
                <a:gradFill>
                  <a:gsLst>
                    <a:gs pos="1250">
                      <a:schemeClr val="bg1"/>
                    </a:gs>
                    <a:gs pos="100000">
                      <a:schemeClr val="bg1"/>
                    </a:gs>
                  </a:gsLst>
                  <a:lin ang="5400000" scaled="0"/>
                </a:gradFill>
              </a:rPr>
              <a:t>Why Microsoft </a:t>
            </a:r>
            <a:br>
              <a:rPr lang="en-US" dirty="0">
                <a:gradFill>
                  <a:gsLst>
                    <a:gs pos="1250">
                      <a:schemeClr val="bg1"/>
                    </a:gs>
                    <a:gs pos="100000">
                      <a:schemeClr val="bg1"/>
                    </a:gs>
                  </a:gsLst>
                  <a:lin ang="5400000" scaled="0"/>
                </a:gradFill>
              </a:rPr>
            </a:br>
            <a:r>
              <a:rPr lang="en-US" dirty="0">
                <a:gradFill>
                  <a:gsLst>
                    <a:gs pos="1250">
                      <a:schemeClr val="bg1"/>
                    </a:gs>
                    <a:gs pos="100000">
                      <a:schemeClr val="bg1"/>
                    </a:gs>
                  </a:gsLst>
                  <a:lin ang="5400000" scaled="0"/>
                </a:gradFill>
              </a:rPr>
              <a:t>Cognitive Services?</a:t>
            </a:r>
          </a:p>
        </p:txBody>
      </p:sp>
      <p:sp>
        <p:nvSpPr>
          <p:cNvPr id="34" name="Rectangle 33">
            <a:extLst>
              <a:ext uri="{FF2B5EF4-FFF2-40B4-BE49-F238E27FC236}">
                <a16:creationId xmlns:a16="http://schemas.microsoft.com/office/drawing/2014/main" id="{C67B258A-345A-46DB-90D6-9943C01AF2E5}"/>
              </a:ext>
            </a:extLst>
          </p:cNvPr>
          <p:cNvSpPr/>
          <p:nvPr/>
        </p:nvSpPr>
        <p:spPr bwMode="auto">
          <a:xfrm>
            <a:off x="1" y="3341339"/>
            <a:ext cx="12191377" cy="35156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0" name="Group 9">
            <a:extLst>
              <a:ext uri="{FF2B5EF4-FFF2-40B4-BE49-F238E27FC236}">
                <a16:creationId xmlns:a16="http://schemas.microsoft.com/office/drawing/2014/main" id="{F38BF20F-D3DE-4B50-8191-6A35442A39F0}"/>
              </a:ext>
            </a:extLst>
          </p:cNvPr>
          <p:cNvGrpSpPr/>
          <p:nvPr/>
        </p:nvGrpSpPr>
        <p:grpSpPr>
          <a:xfrm>
            <a:off x="4046899" y="3364619"/>
            <a:ext cx="4050252" cy="3492410"/>
            <a:chOff x="4046899" y="3364619"/>
            <a:chExt cx="4050252" cy="3492410"/>
          </a:xfrm>
        </p:grpSpPr>
        <p:sp>
          <p:nvSpPr>
            <p:cNvPr id="36" name="Rectangle 35"/>
            <p:cNvSpPr/>
            <p:nvPr/>
          </p:nvSpPr>
          <p:spPr bwMode="auto">
            <a:xfrm>
              <a:off x="4094851" y="3364619"/>
              <a:ext cx="4002300" cy="34924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82880" rIns="179259" bIns="143407" numCol="1" spcCol="0" rtlCol="0" fromWordArt="0" anchor="t" anchorCtr="0" forceAA="0" compatLnSpc="1">
              <a:prstTxWarp prst="textNoShape">
                <a:avLst/>
              </a:prstTxWarp>
              <a:noAutofit/>
            </a:bodyPr>
            <a:lstStyle/>
            <a:p>
              <a:pPr marL="0" marR="0" lvl="0" indent="0" algn="l" defTabSz="914139" rtl="0" eaLnBrk="1" fontAlgn="auto" latinLnBrk="0" hangingPunct="1">
                <a:lnSpc>
                  <a:spcPct val="90000"/>
                </a:lnSpc>
                <a:spcBef>
                  <a:spcPts val="588"/>
                </a:spcBef>
                <a:spcAft>
                  <a:spcPts val="0"/>
                </a:spcAft>
                <a:buClrTx/>
                <a:buSzTx/>
                <a:buFontTx/>
                <a:buNone/>
                <a:tabLst/>
                <a:defRPr/>
              </a:pP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Integrate into the language </a:t>
              </a:r>
              <a:b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and platform of your choice</a:t>
              </a:r>
            </a:p>
            <a:p>
              <a:pPr marL="0" marR="0" lvl="0" indent="0" algn="l" defTabSz="914139" rtl="0" eaLnBrk="1" fontAlgn="auto" latinLnBrk="0" hangingPunct="1">
                <a:lnSpc>
                  <a:spcPct val="90000"/>
                </a:lnSpc>
                <a:spcBef>
                  <a:spcPts val="588"/>
                </a:spcBef>
                <a:spcAft>
                  <a:spcPts val="0"/>
                </a:spcAft>
                <a:buClrTx/>
                <a:buSzTx/>
                <a:buFontTx/>
                <a:buNone/>
                <a:tabLst/>
                <a:defRPr/>
              </a:pP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Breadth of offerings helps you </a:t>
              </a:r>
              <a:b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find the right  for your app</a:t>
              </a:r>
            </a:p>
            <a:p>
              <a:pPr marL="0" marR="0" lvl="0" indent="0" algn="l" defTabSz="914139" rtl="0" eaLnBrk="1" fontAlgn="auto" latinLnBrk="0" hangingPunct="1">
                <a:lnSpc>
                  <a:spcPct val="90000"/>
                </a:lnSpc>
                <a:spcBef>
                  <a:spcPts val="588"/>
                </a:spcBef>
                <a:spcAft>
                  <a:spcPts val="0"/>
                </a:spcAft>
                <a:buClrTx/>
                <a:buSzTx/>
                <a:buFontTx/>
                <a:buNone/>
                <a:tabLst/>
                <a:defRPr/>
              </a:pP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Bring your own data for your </a:t>
              </a:r>
              <a:b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custom experience</a:t>
              </a:r>
            </a:p>
          </p:txBody>
        </p:sp>
        <p:grpSp>
          <p:nvGrpSpPr>
            <p:cNvPr id="5" name="Group 4">
              <a:extLst>
                <a:ext uri="{FF2B5EF4-FFF2-40B4-BE49-F238E27FC236}">
                  <a16:creationId xmlns:a16="http://schemas.microsoft.com/office/drawing/2014/main" id="{1AF3039B-44A9-489A-8872-856DC2E10AFD}"/>
                </a:ext>
              </a:extLst>
            </p:cNvPr>
            <p:cNvGrpSpPr/>
            <p:nvPr/>
          </p:nvGrpSpPr>
          <p:grpSpPr>
            <a:xfrm>
              <a:off x="4553452" y="5606156"/>
              <a:ext cx="3080875" cy="763654"/>
              <a:chOff x="4716440" y="5606156"/>
              <a:chExt cx="3080875" cy="763654"/>
            </a:xfrm>
          </p:grpSpPr>
          <p:sp>
            <p:nvSpPr>
              <p:cNvPr id="44" name="Freeform 11"/>
              <p:cNvSpPr>
                <a:spLocks noEditPoints="1"/>
              </p:cNvSpPr>
              <p:nvPr/>
            </p:nvSpPr>
            <p:spPr bwMode="black">
              <a:xfrm>
                <a:off x="5396645" y="5758556"/>
                <a:ext cx="393918" cy="484981"/>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92D050"/>
              </a:solidFill>
              <a:ln>
                <a:noFill/>
              </a:ln>
            </p:spPr>
            <p:txBody>
              <a:bodyPr vert="horz" wrap="square" lIns="89617" tIns="44808" rIns="89617"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0930">
                        <a:schemeClr val="tx1"/>
                      </a:gs>
                      <a:gs pos="69000">
                        <a:schemeClr val="tx1"/>
                      </a:gs>
                    </a:gsLst>
                    <a:lin ang="10800000" scaled="0"/>
                  </a:gradFill>
                  <a:effectLst/>
                  <a:uLnTx/>
                  <a:uFillTx/>
                  <a:latin typeface="Segoe UI Semilight"/>
                  <a:ea typeface="+mn-ea"/>
                  <a:cs typeface="+mn-cs"/>
                </a:endParaRPr>
              </a:p>
            </p:txBody>
          </p:sp>
          <p:sp>
            <p:nvSpPr>
              <p:cNvPr id="48" name="Freeform 47"/>
              <p:cNvSpPr>
                <a:spLocks noChangeAspect="1" noEditPoints="1"/>
              </p:cNvSpPr>
              <p:nvPr/>
            </p:nvSpPr>
            <p:spPr bwMode="black">
              <a:xfrm>
                <a:off x="4716440" y="5817151"/>
                <a:ext cx="369295" cy="367792"/>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p:spPr>
            <p:txBody>
              <a:bodyPr vert="horz" wrap="square" lIns="89617" tIns="44808" rIns="89617"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0930">
                        <a:schemeClr val="tx1"/>
                      </a:gs>
                      <a:gs pos="69000">
                        <a:schemeClr val="tx1"/>
                      </a:gs>
                    </a:gsLst>
                    <a:lin ang="10800000" scaled="0"/>
                  </a:gradFill>
                  <a:effectLst/>
                  <a:uLnTx/>
                  <a:uFillTx/>
                  <a:latin typeface="Segoe UI Semilight"/>
                  <a:ea typeface="+mn-ea"/>
                  <a:cs typeface="+mn-cs"/>
                </a:endParaRPr>
              </a:p>
            </p:txBody>
          </p:sp>
          <p:pic>
            <p:nvPicPr>
              <p:cNvPr id="2050" name="Picture 2" descr="http://iran-python.ir/images/python_logo.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777803" y="6083477"/>
                <a:ext cx="986705" cy="28633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mean.io/system/assets/img/logos/nodejs.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6827755" y="5606156"/>
                <a:ext cx="969560" cy="26056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01473" y="5768626"/>
                <a:ext cx="365420" cy="442932"/>
              </a:xfrm>
              <a:prstGeom prst="rect">
                <a:avLst/>
              </a:prstGeom>
            </p:spPr>
          </p:pic>
        </p:grpSp>
        <p:sp>
          <p:nvSpPr>
            <p:cNvPr id="3" name="Freeform: Shape 2">
              <a:extLst>
                <a:ext uri="{FF2B5EF4-FFF2-40B4-BE49-F238E27FC236}">
                  <a16:creationId xmlns:a16="http://schemas.microsoft.com/office/drawing/2014/main" id="{742F68DA-DA9F-4A54-8344-CAE1300A79F9}"/>
                </a:ext>
              </a:extLst>
            </p:cNvPr>
            <p:cNvSpPr/>
            <p:nvPr/>
          </p:nvSpPr>
          <p:spPr bwMode="auto">
            <a:xfrm>
              <a:off x="4046899" y="3670048"/>
              <a:ext cx="0" cy="2926080"/>
            </a:xfrm>
            <a:custGeom>
              <a:avLst/>
              <a:gdLst>
                <a:gd name="connsiteX0" fmla="*/ 0 w 0"/>
                <a:gd name="connsiteY0" fmla="*/ 0 h 3096285"/>
                <a:gd name="connsiteX1" fmla="*/ 0 w 0"/>
                <a:gd name="connsiteY1" fmla="*/ 3096285 h 3096285"/>
              </a:gdLst>
              <a:ahLst/>
              <a:cxnLst>
                <a:cxn ang="0">
                  <a:pos x="connsiteX0" y="connsiteY0"/>
                </a:cxn>
                <a:cxn ang="0">
                  <a:pos x="connsiteX1" y="connsiteY1"/>
                </a:cxn>
              </a:cxnLst>
              <a:rect l="l" t="t" r="r" b="b"/>
              <a:pathLst>
                <a:path h="3096285">
                  <a:moveTo>
                    <a:pt x="0" y="0"/>
                  </a:moveTo>
                  <a:lnTo>
                    <a:pt x="0" y="3096285"/>
                  </a:lnTo>
                </a:path>
              </a:pathLst>
            </a:custGeom>
            <a:noFill/>
            <a:ln w="15875" cap="rnd">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0930">
                      <a:schemeClr val="tx1"/>
                    </a:gs>
                    <a:gs pos="69000">
                      <a:schemeClr val="tx1"/>
                    </a:gs>
                  </a:gsLst>
                  <a:lin ang="10800000" scaled="0"/>
                </a:gra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5590782C-6C84-414E-998C-2CB0FB996E72}"/>
              </a:ext>
            </a:extLst>
          </p:cNvPr>
          <p:cNvGrpSpPr/>
          <p:nvPr/>
        </p:nvGrpSpPr>
        <p:grpSpPr>
          <a:xfrm>
            <a:off x="8140881" y="3364619"/>
            <a:ext cx="4050256" cy="3492410"/>
            <a:chOff x="8140881" y="3364619"/>
            <a:chExt cx="4050256" cy="3492410"/>
          </a:xfrm>
        </p:grpSpPr>
        <p:sp>
          <p:nvSpPr>
            <p:cNvPr id="37" name="Rectangle 36"/>
            <p:cNvSpPr/>
            <p:nvPr/>
          </p:nvSpPr>
          <p:spPr bwMode="auto">
            <a:xfrm>
              <a:off x="8188837" y="3364619"/>
              <a:ext cx="4002300" cy="34924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82880" rIns="179259" bIns="143407" numCol="1" spcCol="0" rtlCol="0" fromWordArt="0" anchor="t" anchorCtr="0" forceAA="0" compatLnSpc="1">
              <a:prstTxWarp prst="textNoShape">
                <a:avLst/>
              </a:prstTxWarp>
              <a:noAutofit/>
            </a:bodyPr>
            <a:lstStyle/>
            <a:p>
              <a:pPr marL="0" marR="0" lvl="0" indent="0" algn="l" defTabSz="914139" rtl="0" eaLnBrk="1" fontAlgn="auto" latinLnBrk="0" hangingPunct="1">
                <a:lnSpc>
                  <a:spcPct val="90000"/>
                </a:lnSpc>
                <a:spcBef>
                  <a:spcPts val="588"/>
                </a:spcBef>
                <a:spcAft>
                  <a:spcPts val="575"/>
                </a:spcAft>
                <a:buClrTx/>
                <a:buSzTx/>
                <a:buFontTx/>
                <a:buNone/>
                <a:tabLst/>
                <a:defRPr/>
              </a:pP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Built by experts in their field </a:t>
              </a:r>
              <a:b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from Microsoft Research, Bing, </a:t>
              </a:r>
              <a:b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and Azure Machine Learning</a:t>
              </a:r>
            </a:p>
            <a:p>
              <a:pPr marL="0" marR="0" lvl="0" indent="0" algn="l" defTabSz="914139" rtl="0" eaLnBrk="1" fontAlgn="auto" latinLnBrk="0" hangingPunct="1">
                <a:lnSpc>
                  <a:spcPct val="90000"/>
                </a:lnSpc>
                <a:spcBef>
                  <a:spcPts val="588"/>
                </a:spcBef>
                <a:spcAft>
                  <a:spcPts val="575"/>
                </a:spcAft>
                <a:buClrTx/>
                <a:buSzTx/>
                <a:buFontTx/>
                <a:buNone/>
                <a:tabLst/>
                <a:defRPr/>
              </a:pP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Quality documentation, sample code, and community support</a:t>
              </a:r>
            </a:p>
          </p:txBody>
        </p:sp>
        <p:pic>
          <p:nvPicPr>
            <p:cNvPr id="13" name="Picture 12"/>
            <p:cNvPicPr>
              <a:picLocks noChangeAspect="1"/>
            </p:cNvPicPr>
            <p:nvPr/>
          </p:nvPicPr>
          <p:blipFill>
            <a:blip r:embed="rId7" cstate="print">
              <a:duotone>
                <a:schemeClr val="accent6">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8692885" y="5520960"/>
              <a:ext cx="904356" cy="370786"/>
            </a:xfrm>
            <a:prstGeom prst="rect">
              <a:avLst/>
            </a:prstGeom>
            <a:noFill/>
          </p:spPr>
        </p:pic>
        <p:pic>
          <p:nvPicPr>
            <p:cNvPr id="2056" name="Picture 8" descr="http://social.technet.microsoft.com/wiki/resized-image.ashx/__size/550x0/__key/communityserver-wikis-components-files/00-00-00-00-05/7206.Msdn_5F00_logo.png"/>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692883" y="5962933"/>
              <a:ext cx="1086712" cy="331941"/>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s://upload.wikimedia.org/wikipedia/en/d/d3/UserVoice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52892" y="5965733"/>
              <a:ext cx="1656496" cy="410415"/>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ttp://i.imgur.com/pszAeGh.png"/>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9952893" y="5399428"/>
              <a:ext cx="1635229" cy="410404"/>
            </a:xfrm>
            <a:prstGeom prst="rect">
              <a:avLst/>
            </a:prstGeom>
            <a:noFill/>
            <a:extLst>
              <a:ext uri="{909E8E84-426E-40DD-AFC4-6F175D3DCCD1}">
                <a14:hiddenFill xmlns:a14="http://schemas.microsoft.com/office/drawing/2010/main">
                  <a:solidFill>
                    <a:srgbClr val="FFFFFF"/>
                  </a:solidFill>
                </a14:hiddenFill>
              </a:ext>
            </a:extLst>
          </p:spPr>
        </p:pic>
        <p:sp>
          <p:nvSpPr>
            <p:cNvPr id="28" name="Freeform: Shape 27">
              <a:extLst>
                <a:ext uri="{FF2B5EF4-FFF2-40B4-BE49-F238E27FC236}">
                  <a16:creationId xmlns:a16="http://schemas.microsoft.com/office/drawing/2014/main" id="{1129383C-B5EC-473A-B490-9C11395EBB6C}"/>
                </a:ext>
              </a:extLst>
            </p:cNvPr>
            <p:cNvSpPr/>
            <p:nvPr/>
          </p:nvSpPr>
          <p:spPr bwMode="auto">
            <a:xfrm>
              <a:off x="8140881" y="3670048"/>
              <a:ext cx="0" cy="2926080"/>
            </a:xfrm>
            <a:custGeom>
              <a:avLst/>
              <a:gdLst>
                <a:gd name="connsiteX0" fmla="*/ 0 w 0"/>
                <a:gd name="connsiteY0" fmla="*/ 0 h 3096285"/>
                <a:gd name="connsiteX1" fmla="*/ 0 w 0"/>
                <a:gd name="connsiteY1" fmla="*/ 3096285 h 3096285"/>
              </a:gdLst>
              <a:ahLst/>
              <a:cxnLst>
                <a:cxn ang="0">
                  <a:pos x="connsiteX0" y="connsiteY0"/>
                </a:cxn>
                <a:cxn ang="0">
                  <a:pos x="connsiteX1" y="connsiteY1"/>
                </a:cxn>
              </a:cxnLst>
              <a:rect l="l" t="t" r="r" b="b"/>
              <a:pathLst>
                <a:path h="3096285">
                  <a:moveTo>
                    <a:pt x="0" y="0"/>
                  </a:moveTo>
                  <a:lnTo>
                    <a:pt x="0" y="3096285"/>
                  </a:lnTo>
                </a:path>
              </a:pathLst>
            </a:custGeom>
            <a:noFill/>
            <a:ln w="15875" cap="rnd">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0930">
                      <a:schemeClr val="tx1"/>
                    </a:gs>
                    <a:gs pos="69000">
                      <a:schemeClr val="tx1"/>
                    </a:gs>
                  </a:gsLst>
                  <a:lin ang="10800000" scaled="0"/>
                </a:gradFill>
                <a:effectLst/>
                <a:uLnTx/>
                <a:uFillTx/>
                <a:latin typeface="Segoe UI"/>
                <a:ea typeface="+mn-ea"/>
                <a:cs typeface="+mn-cs"/>
              </a:endParaRPr>
            </a:p>
          </p:txBody>
        </p:sp>
      </p:grpSp>
      <p:grpSp>
        <p:nvGrpSpPr>
          <p:cNvPr id="9" name="Group 8">
            <a:extLst>
              <a:ext uri="{FF2B5EF4-FFF2-40B4-BE49-F238E27FC236}">
                <a16:creationId xmlns:a16="http://schemas.microsoft.com/office/drawing/2014/main" id="{4FE56E04-224F-46AB-B76F-C5E9C3ACD7DD}"/>
              </a:ext>
            </a:extLst>
          </p:cNvPr>
          <p:cNvGrpSpPr/>
          <p:nvPr/>
        </p:nvGrpSpPr>
        <p:grpSpPr>
          <a:xfrm>
            <a:off x="866" y="3364619"/>
            <a:ext cx="4002300" cy="3492410"/>
            <a:chOff x="866" y="3364619"/>
            <a:chExt cx="4002300" cy="3492410"/>
          </a:xfrm>
        </p:grpSpPr>
        <p:sp>
          <p:nvSpPr>
            <p:cNvPr id="4" name="Rectangle 3"/>
            <p:cNvSpPr/>
            <p:nvPr/>
          </p:nvSpPr>
          <p:spPr bwMode="auto">
            <a:xfrm>
              <a:off x="866" y="3364619"/>
              <a:ext cx="4002300" cy="34924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82880" rIns="179259" bIns="143407" numCol="1" spcCol="0" rtlCol="0" fromWordArt="0" anchor="t" anchorCtr="0" forceAA="0" compatLnSpc="1">
              <a:prstTxWarp prst="textNoShape">
                <a:avLst/>
              </a:prstTxWarp>
              <a:noAutofit/>
            </a:bodyPr>
            <a:lstStyle/>
            <a:p>
              <a:pPr marL="0" marR="0" lvl="0" indent="0" algn="l" defTabSz="914139" rtl="0" eaLnBrk="1" fontAlgn="auto" latinLnBrk="0" hangingPunct="1">
                <a:lnSpc>
                  <a:spcPct val="100000"/>
                </a:lnSpc>
                <a:spcBef>
                  <a:spcPts val="575"/>
                </a:spcBef>
                <a:spcAft>
                  <a:spcPts val="575"/>
                </a:spcAft>
                <a:buClrTx/>
                <a:buSzTx/>
                <a:buFontTx/>
                <a:buNone/>
                <a:tabLst/>
                <a:defRPr/>
              </a:pPr>
              <a:r>
                <a:rPr kumimoji="0" lang="en-US" sz="1800" b="0" i="0" u="none" strike="noStrike" kern="1200" cap="none" spc="0" normalizeH="0" baseline="0" noProof="0" dirty="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Roll your own with REST APIs</a:t>
              </a:r>
            </a:p>
            <a:p>
              <a:pPr marL="0" marR="0" lvl="0" indent="0" algn="l" defTabSz="914139" rtl="0" eaLnBrk="1" fontAlgn="auto" latinLnBrk="0" hangingPunct="1">
                <a:lnSpc>
                  <a:spcPct val="100000"/>
                </a:lnSpc>
                <a:spcBef>
                  <a:spcPts val="575"/>
                </a:spcBef>
                <a:spcAft>
                  <a:spcPts val="575"/>
                </a:spcAft>
                <a:buClrTx/>
                <a:buSzTx/>
                <a:buFontTx/>
                <a:buNone/>
                <a:tabLst/>
                <a:defRPr/>
              </a:pPr>
              <a:r>
                <a:rPr kumimoji="0" lang="en-US" sz="1800" b="0" i="0" u="none" strike="noStrike" kern="1200" cap="none" spc="0" normalizeH="0" baseline="0" noProof="0" dirty="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Simple to add: just a few </a:t>
              </a:r>
              <a:br>
                <a:rPr kumimoji="0" lang="en-US" sz="1800" b="0" i="0" u="none" strike="noStrike" kern="1200" cap="none" spc="0" normalizeH="0" baseline="0" noProof="0" dirty="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lines of code required</a:t>
              </a:r>
            </a:p>
          </p:txBody>
        </p:sp>
        <p:grpSp>
          <p:nvGrpSpPr>
            <p:cNvPr id="7" name="Group 6">
              <a:extLst>
                <a:ext uri="{FF2B5EF4-FFF2-40B4-BE49-F238E27FC236}">
                  <a16:creationId xmlns:a16="http://schemas.microsoft.com/office/drawing/2014/main" id="{35A09EAD-6A12-4A3A-955B-E7884E1544E4}"/>
                </a:ext>
              </a:extLst>
            </p:cNvPr>
            <p:cNvGrpSpPr/>
            <p:nvPr/>
          </p:nvGrpSpPr>
          <p:grpSpPr>
            <a:xfrm>
              <a:off x="1683250" y="5498821"/>
              <a:ext cx="1754183" cy="870989"/>
              <a:chOff x="2141910" y="5670135"/>
              <a:chExt cx="1382199" cy="686291"/>
            </a:xfrm>
          </p:grpSpPr>
          <p:sp>
            <p:nvSpPr>
              <p:cNvPr id="23" name="TextBox 22"/>
              <p:cNvSpPr txBox="1"/>
              <p:nvPr/>
            </p:nvSpPr>
            <p:spPr>
              <a:xfrm>
                <a:off x="2141910" y="5670135"/>
                <a:ext cx="1328917" cy="446430"/>
              </a:xfrm>
              <a:prstGeom prst="rect">
                <a:avLst/>
              </a:prstGeom>
              <a:noFill/>
            </p:spPr>
            <p:txBody>
              <a:bodyPr wrap="square" lIns="179234" tIns="143388" rIns="179234" bIns="143388" rtlCol="0" anchor="ctr">
                <a:spAutoFit/>
              </a:bodyPr>
              <a:lstStyle/>
              <a:p>
                <a:pPr marL="0" marR="0" lvl="0" indent="0" algn="l" defTabSz="896043"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gradFill>
                      <a:gsLst>
                        <a:gs pos="20930">
                          <a:schemeClr val="tx1"/>
                        </a:gs>
                        <a:gs pos="69000">
                          <a:schemeClr val="tx1"/>
                        </a:gs>
                      </a:gsLst>
                      <a:lin ang="10800000" scaled="0"/>
                    </a:gradFill>
                    <a:effectLst/>
                    <a:uLnTx/>
                    <a:uFillTx/>
                    <a:latin typeface="Segoe UI"/>
                    <a:ea typeface="+mn-ea"/>
                    <a:cs typeface="Segoe UI" panose="020B0502040204020203" pitchFamily="34" charset="0"/>
                  </a:rPr>
                  <a:t>Get a key,</a:t>
                </a:r>
              </a:p>
            </p:txBody>
          </p:sp>
          <p:sp>
            <p:nvSpPr>
              <p:cNvPr id="30" name="Processing_E9F5" title="Icon of two interlocked gears">
                <a:extLst>
                  <a:ext uri="{FF2B5EF4-FFF2-40B4-BE49-F238E27FC236}">
                    <a16:creationId xmlns:a16="http://schemas.microsoft.com/office/drawing/2014/main" id="{E7E6B51D-62BA-4BF8-B4A9-3D6CC4C814B7}"/>
                  </a:ext>
                </a:extLst>
              </p:cNvPr>
              <p:cNvSpPr>
                <a:spLocks noChangeAspect="1" noEditPoints="1"/>
              </p:cNvSpPr>
              <p:nvPr/>
            </p:nvSpPr>
            <p:spPr bwMode="auto">
              <a:xfrm rot="6300000">
                <a:off x="2994967" y="5817070"/>
                <a:ext cx="565645" cy="49263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20930">
                        <a:schemeClr val="tx1"/>
                      </a:gs>
                      <a:gs pos="69000">
                        <a:schemeClr val="tx1"/>
                      </a:gs>
                    </a:gsLst>
                    <a:lin ang="10800000" scaled="0"/>
                  </a:gradFill>
                  <a:effectLst/>
                  <a:uLnTx/>
                  <a:uFillTx/>
                  <a:latin typeface="Segoe UI"/>
                  <a:ea typeface="+mn-ea"/>
                  <a:cs typeface="+mn-cs"/>
                </a:endParaRPr>
              </a:p>
            </p:txBody>
          </p:sp>
          <p:sp>
            <p:nvSpPr>
              <p:cNvPr id="31" name="TextBox 30">
                <a:extLst>
                  <a:ext uri="{FF2B5EF4-FFF2-40B4-BE49-F238E27FC236}">
                    <a16:creationId xmlns:a16="http://schemas.microsoft.com/office/drawing/2014/main" id="{7EAA54C2-D0EB-44EE-AF4C-D742953A14BC}"/>
                  </a:ext>
                </a:extLst>
              </p:cNvPr>
              <p:cNvSpPr txBox="1"/>
              <p:nvPr/>
            </p:nvSpPr>
            <p:spPr>
              <a:xfrm>
                <a:off x="2159098" y="5909997"/>
                <a:ext cx="1328917" cy="446429"/>
              </a:xfrm>
              <a:prstGeom prst="rect">
                <a:avLst/>
              </a:prstGeom>
              <a:noFill/>
            </p:spPr>
            <p:txBody>
              <a:bodyPr wrap="square" lIns="179234" tIns="143388" rIns="179234" bIns="143388" rtlCol="0" anchor="ctr">
                <a:spAutoFit/>
              </a:bodyPr>
              <a:lstStyle/>
              <a:p>
                <a:pPr marL="0" marR="0" lvl="0" indent="0" algn="l" defTabSz="896043"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gradFill>
                      <a:gsLst>
                        <a:gs pos="20930">
                          <a:schemeClr val="tx1"/>
                        </a:gs>
                        <a:gs pos="69000">
                          <a:schemeClr val="tx1"/>
                        </a:gs>
                      </a:gsLst>
                      <a:lin ang="10800000" scaled="0"/>
                    </a:gradFill>
                    <a:effectLst/>
                    <a:uLnTx/>
                    <a:uFillTx/>
                    <a:latin typeface="Segoe UI"/>
                    <a:ea typeface="+mn-ea"/>
                    <a:cs typeface="Segoe UI" panose="020B0502040204020203" pitchFamily="34" charset="0"/>
                  </a:rPr>
                  <a:t>Build</a:t>
                </a:r>
              </a:p>
            </p:txBody>
          </p:sp>
        </p:grpSp>
      </p:grpSp>
    </p:spTree>
    <p:extLst>
      <p:ext uri="{BB962C8B-B14F-4D97-AF65-F5344CB8AC3E}">
        <p14:creationId xmlns:p14="http://schemas.microsoft.com/office/powerpoint/2010/main" val="3424020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2"/>
                                        </p:tgtEl>
                                        <p:attrNameLst>
                                          <p:attrName>ppt_x</p:attrName>
                                          <p:attrName>ppt_y</p:attrName>
                                        </p:attrNameLst>
                                      </p:cBhvr>
                                      <p:rCtr x="2331" y="0"/>
                                    </p:animMotion>
                                  </p:childTnLst>
                                </p:cTn>
                              </p:par>
                              <p:par>
                                <p:cTn id="10" presetID="2" presetClass="entr" presetSubtype="4"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750" fill="hold"/>
                                        <p:tgtEl>
                                          <p:spTgt spid="8"/>
                                        </p:tgtEl>
                                        <p:attrNameLst>
                                          <p:attrName>ppt_x</p:attrName>
                                        </p:attrNameLst>
                                      </p:cBhvr>
                                      <p:tavLst>
                                        <p:tav tm="0">
                                          <p:val>
                                            <p:strVal val="#ppt_x"/>
                                          </p:val>
                                        </p:tav>
                                        <p:tav tm="100000">
                                          <p:val>
                                            <p:strVal val="#ppt_x"/>
                                          </p:val>
                                        </p:tav>
                                      </p:tavLst>
                                    </p:anim>
                                    <p:anim calcmode="lin" valueType="num">
                                      <p:cBhvr additive="base">
                                        <p:cTn id="13" dur="750" fill="hold"/>
                                        <p:tgtEl>
                                          <p:spTgt spid="8"/>
                                        </p:tgtEl>
                                        <p:attrNameLst>
                                          <p:attrName>ppt_y</p:attrName>
                                        </p:attrNameLst>
                                      </p:cBhvr>
                                      <p:tavLst>
                                        <p:tav tm="0">
                                          <p:val>
                                            <p:strVal val="1+#ppt_h/2"/>
                                          </p:val>
                                        </p:tav>
                                        <p:tav tm="100000">
                                          <p:val>
                                            <p:strVal val="#ppt_y"/>
                                          </p:val>
                                        </p:tav>
                                      </p:tavLst>
                                    </p:anim>
                                  </p:childTnLst>
                                </p:cTn>
                              </p:par>
                              <p:par>
                                <p:cTn id="14" presetID="10" presetClass="entr" presetSubtype="0" fill="hold" nodeType="withEffect">
                                  <p:stCondLst>
                                    <p:cond delay="40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63" presetClass="path" presetSubtype="0" decel="100000" fill="hold" nodeType="withEffect">
                                  <p:stCondLst>
                                    <p:cond delay="400"/>
                                  </p:stCondLst>
                                  <p:childTnLst>
                                    <p:animMotion origin="layout" path="M -2.08333E-7 2.22222E-6 L 0.04675 2.22222E-6 " pathEditMode="relative" rAng="0" ptsTypes="AA">
                                      <p:cBhvr>
                                        <p:cTn id="18" dur="750" spd="-100000" fill="hold"/>
                                        <p:tgtEl>
                                          <p:spTgt spid="9"/>
                                        </p:tgtEl>
                                        <p:attrNameLst>
                                          <p:attrName>ppt_x</p:attrName>
                                          <p:attrName>ppt_y</p:attrName>
                                        </p:attrNameLst>
                                      </p:cBhvr>
                                      <p:rCtr x="2331" y="0"/>
                                    </p:animMotion>
                                  </p:childTnLst>
                                </p:cTn>
                              </p:par>
                              <p:par>
                                <p:cTn id="19" presetID="2" presetClass="entr" presetSubtype="4" decel="100000" fill="hold" grpId="0" nodeType="withEffect">
                                  <p:stCondLst>
                                    <p:cond delay="100"/>
                                  </p:stCondLst>
                                  <p:childTnLst>
                                    <p:set>
                                      <p:cBhvr>
                                        <p:cTn id="20" dur="1" fill="hold">
                                          <p:stCondLst>
                                            <p:cond delay="0"/>
                                          </p:stCondLst>
                                        </p:cTn>
                                        <p:tgtEl>
                                          <p:spTgt spid="26"/>
                                        </p:tgtEl>
                                        <p:attrNameLst>
                                          <p:attrName>style.visibility</p:attrName>
                                        </p:attrNameLst>
                                      </p:cBhvr>
                                      <p:to>
                                        <p:strVal val="visible"/>
                                      </p:to>
                                    </p:set>
                                    <p:anim calcmode="lin" valueType="num">
                                      <p:cBhvr additive="base">
                                        <p:cTn id="21" dur="750" fill="hold"/>
                                        <p:tgtEl>
                                          <p:spTgt spid="26"/>
                                        </p:tgtEl>
                                        <p:attrNameLst>
                                          <p:attrName>ppt_x</p:attrName>
                                        </p:attrNameLst>
                                      </p:cBhvr>
                                      <p:tavLst>
                                        <p:tav tm="0">
                                          <p:val>
                                            <p:strVal val="#ppt_x"/>
                                          </p:val>
                                        </p:tav>
                                        <p:tav tm="100000">
                                          <p:val>
                                            <p:strVal val="#ppt_x"/>
                                          </p:val>
                                        </p:tav>
                                      </p:tavLst>
                                    </p:anim>
                                    <p:anim calcmode="lin" valueType="num">
                                      <p:cBhvr additive="base">
                                        <p:cTn id="22" dur="750" fill="hold"/>
                                        <p:tgtEl>
                                          <p:spTgt spid="26"/>
                                        </p:tgtEl>
                                        <p:attrNameLst>
                                          <p:attrName>ppt_y</p:attrName>
                                        </p:attrNameLst>
                                      </p:cBhvr>
                                      <p:tavLst>
                                        <p:tav tm="0">
                                          <p:val>
                                            <p:strVal val="1+#ppt_h/2"/>
                                          </p:val>
                                        </p:tav>
                                        <p:tav tm="100000">
                                          <p:val>
                                            <p:strVal val="#ppt_y"/>
                                          </p:val>
                                        </p:tav>
                                      </p:tavLst>
                                    </p:anim>
                                  </p:childTnLst>
                                </p:cTn>
                              </p:par>
                              <p:par>
                                <p:cTn id="23" presetID="10" presetClass="entr" presetSubtype="0" fill="hold" nodeType="withEffect">
                                  <p:stCondLst>
                                    <p:cond delay="60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63" presetClass="path" presetSubtype="0" decel="100000" fill="hold" nodeType="withEffect">
                                  <p:stCondLst>
                                    <p:cond delay="600"/>
                                  </p:stCondLst>
                                  <p:childTnLst>
                                    <p:animMotion origin="layout" path="M -2.08333E-7 2.22222E-6 L 0.04675 2.22222E-6 " pathEditMode="relative" rAng="0" ptsTypes="AA">
                                      <p:cBhvr>
                                        <p:cTn id="27" dur="750" spd="-100000" fill="hold"/>
                                        <p:tgtEl>
                                          <p:spTgt spid="10"/>
                                        </p:tgtEl>
                                        <p:attrNameLst>
                                          <p:attrName>ppt_x</p:attrName>
                                          <p:attrName>ppt_y</p:attrName>
                                        </p:attrNameLst>
                                      </p:cBhvr>
                                      <p:rCtr x="2331" y="0"/>
                                    </p:animMotion>
                                  </p:childTnLst>
                                </p:cTn>
                              </p:par>
                              <p:par>
                                <p:cTn id="28" presetID="2" presetClass="entr" presetSubtype="4" decel="100000" fill="hold" grpId="0" nodeType="withEffect">
                                  <p:stCondLst>
                                    <p:cond delay="200"/>
                                  </p:stCondLst>
                                  <p:childTnLst>
                                    <p:set>
                                      <p:cBhvr>
                                        <p:cTn id="29" dur="1" fill="hold">
                                          <p:stCondLst>
                                            <p:cond delay="0"/>
                                          </p:stCondLst>
                                        </p:cTn>
                                        <p:tgtEl>
                                          <p:spTgt spid="27"/>
                                        </p:tgtEl>
                                        <p:attrNameLst>
                                          <p:attrName>style.visibility</p:attrName>
                                        </p:attrNameLst>
                                      </p:cBhvr>
                                      <p:to>
                                        <p:strVal val="visible"/>
                                      </p:to>
                                    </p:set>
                                    <p:anim calcmode="lin" valueType="num">
                                      <p:cBhvr additive="base">
                                        <p:cTn id="30" dur="750" fill="hold"/>
                                        <p:tgtEl>
                                          <p:spTgt spid="27"/>
                                        </p:tgtEl>
                                        <p:attrNameLst>
                                          <p:attrName>ppt_x</p:attrName>
                                        </p:attrNameLst>
                                      </p:cBhvr>
                                      <p:tavLst>
                                        <p:tav tm="0">
                                          <p:val>
                                            <p:strVal val="#ppt_x"/>
                                          </p:val>
                                        </p:tav>
                                        <p:tav tm="100000">
                                          <p:val>
                                            <p:strVal val="#ppt_x"/>
                                          </p:val>
                                        </p:tav>
                                      </p:tavLst>
                                    </p:anim>
                                    <p:anim calcmode="lin" valueType="num">
                                      <p:cBhvr additive="base">
                                        <p:cTn id="31" dur="750" fill="hold"/>
                                        <p:tgtEl>
                                          <p:spTgt spid="27"/>
                                        </p:tgtEl>
                                        <p:attrNameLst>
                                          <p:attrName>ppt_y</p:attrName>
                                        </p:attrNameLst>
                                      </p:cBhvr>
                                      <p:tavLst>
                                        <p:tav tm="0">
                                          <p:val>
                                            <p:strVal val="1+#ppt_h/2"/>
                                          </p:val>
                                        </p:tav>
                                        <p:tav tm="100000">
                                          <p:val>
                                            <p:strVal val="#ppt_y"/>
                                          </p:val>
                                        </p:tav>
                                      </p:tavLst>
                                    </p:anim>
                                  </p:childTnLst>
                                </p:cTn>
                              </p:par>
                              <p:par>
                                <p:cTn id="32" presetID="10" presetClass="entr" presetSubtype="0" fill="hold" nodeType="withEffect">
                                  <p:stCondLst>
                                    <p:cond delay="80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par>
                                <p:cTn id="35" presetID="63" presetClass="path" presetSubtype="0" decel="100000" fill="hold" nodeType="withEffect">
                                  <p:stCondLst>
                                    <p:cond delay="800"/>
                                  </p:stCondLst>
                                  <p:childTnLst>
                                    <p:animMotion origin="layout" path="M -2.08333E-7 2.22222E-6 L 0.04675 2.22222E-6 " pathEditMode="relative" rAng="0" ptsTypes="AA">
                                      <p:cBhvr>
                                        <p:cTn id="36" dur="750" spd="-100000" fill="hold"/>
                                        <p:tgtEl>
                                          <p:spTgt spid="1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6" grpId="0" animBg="1"/>
      <p:bldP spid="27" grpId="0" animBg="1"/>
      <p:bldP spid="2" grpId="0"/>
      <p:bldP spid="2"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95D1E38A-6F9F-46EB-BCF9-585090763F8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866" y="972"/>
            <a:ext cx="12190271" cy="3321463"/>
          </a:xfrm>
          <a:prstGeom prst="rect">
            <a:avLst/>
          </a:prstGeom>
        </p:spPr>
      </p:pic>
      <p:sp>
        <p:nvSpPr>
          <p:cNvPr id="85" name="Oval 84">
            <a:extLst>
              <a:ext uri="{FF2B5EF4-FFF2-40B4-BE49-F238E27FC236}">
                <a16:creationId xmlns:a16="http://schemas.microsoft.com/office/drawing/2014/main" id="{DD9A00F2-AA90-4065-BD9F-665380EE2A7F}"/>
              </a:ext>
            </a:extLst>
          </p:cNvPr>
          <p:cNvSpPr/>
          <p:nvPr/>
        </p:nvSpPr>
        <p:spPr bwMode="auto">
          <a:xfrm>
            <a:off x="10405906" y="1152105"/>
            <a:ext cx="1142838" cy="1142838"/>
          </a:xfrm>
          <a:prstGeom prst="ellipse">
            <a:avLst/>
          </a:prstGeom>
          <a:solidFill>
            <a:srgbClr val="FFFFFF"/>
          </a:solidFill>
          <a:ln w="2540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 name="Rectangle 51">
            <a:extLst>
              <a:ext uri="{FF2B5EF4-FFF2-40B4-BE49-F238E27FC236}">
                <a16:creationId xmlns:a16="http://schemas.microsoft.com/office/drawing/2014/main" id="{BAB412D2-54DD-439B-94C6-415624C0BE91}"/>
              </a:ext>
            </a:extLst>
          </p:cNvPr>
          <p:cNvSpPr/>
          <p:nvPr/>
        </p:nvSpPr>
        <p:spPr bwMode="auto">
          <a:xfrm>
            <a:off x="1" y="487"/>
            <a:ext cx="12208193" cy="3321948"/>
          </a:xfrm>
          <a:prstGeom prst="rect">
            <a:avLst/>
          </a:prstGeom>
          <a:gradFill>
            <a:gsLst>
              <a:gs pos="13000">
                <a:schemeClr val="tx1">
                  <a:lumMod val="50000"/>
                  <a:alpha val="0"/>
                </a:schemeClr>
              </a:gs>
              <a:gs pos="83000">
                <a:schemeClr val="tx1">
                  <a:lumMod val="50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 name="Rectangle 53">
            <a:extLst>
              <a:ext uri="{FF2B5EF4-FFF2-40B4-BE49-F238E27FC236}">
                <a16:creationId xmlns:a16="http://schemas.microsoft.com/office/drawing/2014/main" id="{9AF0E3DB-F4D3-44FD-B852-14C7019CA0EF}"/>
              </a:ext>
            </a:extLst>
          </p:cNvPr>
          <p:cNvSpPr/>
          <p:nvPr/>
        </p:nvSpPr>
        <p:spPr bwMode="auto">
          <a:xfrm>
            <a:off x="623" y="1916247"/>
            <a:ext cx="12191377" cy="49417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63" name="Picture 62">
            <a:extLst>
              <a:ext uri="{FF2B5EF4-FFF2-40B4-BE49-F238E27FC236}">
                <a16:creationId xmlns:a16="http://schemas.microsoft.com/office/drawing/2014/main" id="{8A5C6AE0-79FF-4CC7-BA3A-E57AC56D2CD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550" y="1097858"/>
            <a:ext cx="1138482" cy="1142676"/>
          </a:xfrm>
          <a:prstGeom prst="ellipse">
            <a:avLst/>
          </a:prstGeom>
        </p:spPr>
      </p:pic>
      <p:sp>
        <p:nvSpPr>
          <p:cNvPr id="73" name="TextBox 72">
            <a:extLst>
              <a:ext uri="{FF2B5EF4-FFF2-40B4-BE49-F238E27FC236}">
                <a16:creationId xmlns:a16="http://schemas.microsoft.com/office/drawing/2014/main" id="{470B6926-3E6B-403B-9E0F-89307D0436E5}"/>
              </a:ext>
            </a:extLst>
          </p:cNvPr>
          <p:cNvSpPr txBox="1"/>
          <p:nvPr/>
        </p:nvSpPr>
        <p:spPr>
          <a:xfrm>
            <a:off x="270944" y="2011024"/>
            <a:ext cx="1919696" cy="566452"/>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sp>
        <p:nvSpPr>
          <p:cNvPr id="75" name="Rectangle 74">
            <a:extLst>
              <a:ext uri="{FF2B5EF4-FFF2-40B4-BE49-F238E27FC236}">
                <a16:creationId xmlns:a16="http://schemas.microsoft.com/office/drawing/2014/main" id="{0E063805-C235-4BF1-BF9D-868D1357535D}"/>
              </a:ext>
            </a:extLst>
          </p:cNvPr>
          <p:cNvSpPr/>
          <p:nvPr/>
        </p:nvSpPr>
        <p:spPr bwMode="auto">
          <a:xfrm>
            <a:off x="334493" y="2882100"/>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Computer Vision </a:t>
            </a:r>
          </a:p>
        </p:txBody>
      </p:sp>
      <p:sp>
        <p:nvSpPr>
          <p:cNvPr id="76" name="Rectangle 75">
            <a:extLst>
              <a:ext uri="{FF2B5EF4-FFF2-40B4-BE49-F238E27FC236}">
                <a16:creationId xmlns:a16="http://schemas.microsoft.com/office/drawing/2014/main" id="{F6A617C5-96A0-4CA2-B1C6-187EBFDC462D}"/>
              </a:ext>
            </a:extLst>
          </p:cNvPr>
          <p:cNvSpPr/>
          <p:nvPr/>
        </p:nvSpPr>
        <p:spPr bwMode="auto">
          <a:xfrm>
            <a:off x="334493" y="3248351"/>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Face </a:t>
            </a:r>
          </a:p>
        </p:txBody>
      </p:sp>
      <p:sp>
        <p:nvSpPr>
          <p:cNvPr id="77" name="Rectangle 76">
            <a:extLst>
              <a:ext uri="{FF2B5EF4-FFF2-40B4-BE49-F238E27FC236}">
                <a16:creationId xmlns:a16="http://schemas.microsoft.com/office/drawing/2014/main" id="{344617CB-13B1-4885-B57F-DD0592AE7800}"/>
              </a:ext>
            </a:extLst>
          </p:cNvPr>
          <p:cNvSpPr/>
          <p:nvPr/>
        </p:nvSpPr>
        <p:spPr bwMode="auto">
          <a:xfrm>
            <a:off x="334493" y="3612338"/>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Emotion</a:t>
            </a:r>
          </a:p>
        </p:txBody>
      </p:sp>
      <p:sp>
        <p:nvSpPr>
          <p:cNvPr id="78" name="Rectangle 77">
            <a:extLst>
              <a:ext uri="{FF2B5EF4-FFF2-40B4-BE49-F238E27FC236}">
                <a16:creationId xmlns:a16="http://schemas.microsoft.com/office/drawing/2014/main" id="{24405242-979F-4125-88E1-33A0912CAFC5}"/>
              </a:ext>
            </a:extLst>
          </p:cNvPr>
          <p:cNvSpPr/>
          <p:nvPr/>
        </p:nvSpPr>
        <p:spPr bwMode="auto">
          <a:xfrm>
            <a:off x="334493" y="3976325"/>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Content Moderator</a:t>
            </a:r>
          </a:p>
        </p:txBody>
      </p:sp>
      <p:sp>
        <p:nvSpPr>
          <p:cNvPr id="79" name="Rectangle 78">
            <a:extLst>
              <a:ext uri="{FF2B5EF4-FFF2-40B4-BE49-F238E27FC236}">
                <a16:creationId xmlns:a16="http://schemas.microsoft.com/office/drawing/2014/main" id="{7BBF8C55-E783-4A9B-92B3-BF2331A84C17}"/>
              </a:ext>
            </a:extLst>
          </p:cNvPr>
          <p:cNvSpPr/>
          <p:nvPr/>
        </p:nvSpPr>
        <p:spPr bwMode="auto">
          <a:xfrm>
            <a:off x="334493" y="2520377"/>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Video Indexer</a:t>
            </a:r>
          </a:p>
        </p:txBody>
      </p:sp>
      <p:sp>
        <p:nvSpPr>
          <p:cNvPr id="80" name="Rectangle 79">
            <a:extLst>
              <a:ext uri="{FF2B5EF4-FFF2-40B4-BE49-F238E27FC236}">
                <a16:creationId xmlns:a16="http://schemas.microsoft.com/office/drawing/2014/main" id="{144C93B6-DB2D-4276-AA54-086899D89FF4}"/>
              </a:ext>
            </a:extLst>
          </p:cNvPr>
          <p:cNvSpPr/>
          <p:nvPr/>
        </p:nvSpPr>
        <p:spPr bwMode="auto">
          <a:xfrm>
            <a:off x="334493" y="4340312"/>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ustom Vision</a:t>
            </a:r>
          </a:p>
        </p:txBody>
      </p:sp>
      <p:pic>
        <p:nvPicPr>
          <p:cNvPr id="59" name="Picture 58">
            <a:extLst>
              <a:ext uri="{FF2B5EF4-FFF2-40B4-BE49-F238E27FC236}">
                <a16:creationId xmlns:a16="http://schemas.microsoft.com/office/drawing/2014/main" id="{250FFDA4-4963-4D42-9976-8569E35D993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60165" y="1097857"/>
            <a:ext cx="1138482" cy="1142676"/>
          </a:xfrm>
          <a:prstGeom prst="ellipse">
            <a:avLst/>
          </a:prstGeom>
        </p:spPr>
      </p:pic>
      <p:sp>
        <p:nvSpPr>
          <p:cNvPr id="71" name="TextBox 70">
            <a:extLst>
              <a:ext uri="{FF2B5EF4-FFF2-40B4-BE49-F238E27FC236}">
                <a16:creationId xmlns:a16="http://schemas.microsoft.com/office/drawing/2014/main" id="{E547CF2B-A8FE-4D63-8D9E-D13BE1A31CD9}"/>
              </a:ext>
            </a:extLst>
          </p:cNvPr>
          <p:cNvSpPr txBox="1"/>
          <p:nvPr/>
        </p:nvSpPr>
        <p:spPr>
          <a:xfrm>
            <a:off x="4169558" y="2011023"/>
            <a:ext cx="1919696" cy="566452"/>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sp>
        <p:nvSpPr>
          <p:cNvPr id="90" name="Rectangle 89">
            <a:extLst>
              <a:ext uri="{FF2B5EF4-FFF2-40B4-BE49-F238E27FC236}">
                <a16:creationId xmlns:a16="http://schemas.microsoft.com/office/drawing/2014/main" id="{A40BC242-5C2F-4F14-B985-89EB2489BD9F}"/>
              </a:ext>
            </a:extLst>
          </p:cNvPr>
          <p:cNvSpPr/>
          <p:nvPr/>
        </p:nvSpPr>
        <p:spPr bwMode="auto">
          <a:xfrm>
            <a:off x="4233108" y="3612338"/>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Language Understanding (LUIS)</a:t>
            </a:r>
          </a:p>
        </p:txBody>
      </p:sp>
      <p:sp>
        <p:nvSpPr>
          <p:cNvPr id="91" name="Rectangle 90">
            <a:extLst>
              <a:ext uri="{FF2B5EF4-FFF2-40B4-BE49-F238E27FC236}">
                <a16:creationId xmlns:a16="http://schemas.microsoft.com/office/drawing/2014/main" id="{69C8414B-F8CF-436B-872A-7011E4CA4A2E}"/>
              </a:ext>
            </a:extLst>
          </p:cNvPr>
          <p:cNvSpPr/>
          <p:nvPr/>
        </p:nvSpPr>
        <p:spPr bwMode="auto">
          <a:xfrm>
            <a:off x="4233108" y="2520377"/>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Text Analytics </a:t>
            </a:r>
          </a:p>
        </p:txBody>
      </p:sp>
      <p:sp>
        <p:nvSpPr>
          <p:cNvPr id="92" name="Rectangle 91">
            <a:extLst>
              <a:ext uri="{FF2B5EF4-FFF2-40B4-BE49-F238E27FC236}">
                <a16:creationId xmlns:a16="http://schemas.microsoft.com/office/drawing/2014/main" id="{172D5F2F-5593-418C-90F7-C90DB32199D9}"/>
              </a:ext>
            </a:extLst>
          </p:cNvPr>
          <p:cNvSpPr/>
          <p:nvPr/>
        </p:nvSpPr>
        <p:spPr bwMode="auto">
          <a:xfrm>
            <a:off x="4233108" y="2882100"/>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Bing Spell Check </a:t>
            </a:r>
          </a:p>
        </p:txBody>
      </p:sp>
      <p:sp>
        <p:nvSpPr>
          <p:cNvPr id="95" name="Rectangle 94">
            <a:extLst>
              <a:ext uri="{FF2B5EF4-FFF2-40B4-BE49-F238E27FC236}">
                <a16:creationId xmlns:a16="http://schemas.microsoft.com/office/drawing/2014/main" id="{ED78DDC7-60B1-4C31-ADCB-603FD644FCEA}"/>
              </a:ext>
            </a:extLst>
          </p:cNvPr>
          <p:cNvSpPr/>
          <p:nvPr/>
        </p:nvSpPr>
        <p:spPr bwMode="auto">
          <a:xfrm>
            <a:off x="4233108" y="3248351"/>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ranslator Text </a:t>
            </a:r>
          </a:p>
        </p:txBody>
      </p:sp>
      <p:pic>
        <p:nvPicPr>
          <p:cNvPr id="62" name="Picture 61">
            <a:extLst>
              <a:ext uri="{FF2B5EF4-FFF2-40B4-BE49-F238E27FC236}">
                <a16:creationId xmlns:a16="http://schemas.microsoft.com/office/drawing/2014/main" id="{FB084A6E-5F97-4E1F-AEDA-DEBBDB5F208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58779" y="1097859"/>
            <a:ext cx="1138482" cy="1142676"/>
          </a:xfrm>
          <a:prstGeom prst="ellipse">
            <a:avLst/>
          </a:prstGeom>
        </p:spPr>
      </p:pic>
      <p:sp>
        <p:nvSpPr>
          <p:cNvPr id="72" name="TextBox 71">
            <a:extLst>
              <a:ext uri="{FF2B5EF4-FFF2-40B4-BE49-F238E27FC236}">
                <a16:creationId xmlns:a16="http://schemas.microsoft.com/office/drawing/2014/main" id="{1A682EE9-62ED-458D-99B2-F390CB6AEC13}"/>
              </a:ext>
            </a:extLst>
          </p:cNvPr>
          <p:cNvSpPr txBox="1"/>
          <p:nvPr/>
        </p:nvSpPr>
        <p:spPr>
          <a:xfrm>
            <a:off x="8068172" y="2011024"/>
            <a:ext cx="1919696" cy="566452"/>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sp>
        <p:nvSpPr>
          <p:cNvPr id="96" name="Rectangle 95">
            <a:extLst>
              <a:ext uri="{FF2B5EF4-FFF2-40B4-BE49-F238E27FC236}">
                <a16:creationId xmlns:a16="http://schemas.microsoft.com/office/drawing/2014/main" id="{BFE30CE5-24F6-43C0-AFCD-F2E32E72DE0B}"/>
              </a:ext>
            </a:extLst>
          </p:cNvPr>
          <p:cNvSpPr/>
          <p:nvPr/>
        </p:nvSpPr>
        <p:spPr bwMode="auto">
          <a:xfrm>
            <a:off x="8131722" y="2882100"/>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Bing Autosuggest </a:t>
            </a:r>
          </a:p>
        </p:txBody>
      </p:sp>
      <p:sp>
        <p:nvSpPr>
          <p:cNvPr id="98" name="Rectangle 97">
            <a:extLst>
              <a:ext uri="{FF2B5EF4-FFF2-40B4-BE49-F238E27FC236}">
                <a16:creationId xmlns:a16="http://schemas.microsoft.com/office/drawing/2014/main" id="{0BDD8B15-7FF0-4077-A4B3-5B9DD760B529}"/>
              </a:ext>
            </a:extLst>
          </p:cNvPr>
          <p:cNvSpPr/>
          <p:nvPr/>
        </p:nvSpPr>
        <p:spPr bwMode="auto">
          <a:xfrm>
            <a:off x="8131722" y="3248351"/>
            <a:ext cx="1792596" cy="181871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91440" rIns="89630" bIns="44808" numCol="1" spcCol="0" rtlCol="0" fromWordArt="0" anchor="t"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ing Search</a:t>
            </a:r>
          </a:p>
        </p:txBody>
      </p:sp>
      <p:sp>
        <p:nvSpPr>
          <p:cNvPr id="101" name="Rectangle 100">
            <a:extLst>
              <a:ext uri="{FF2B5EF4-FFF2-40B4-BE49-F238E27FC236}">
                <a16:creationId xmlns:a16="http://schemas.microsoft.com/office/drawing/2014/main" id="{DBC45C1C-AB08-4F9A-84BA-B9887A6259CA}"/>
              </a:ext>
            </a:extLst>
          </p:cNvPr>
          <p:cNvSpPr/>
          <p:nvPr/>
        </p:nvSpPr>
        <p:spPr bwMode="auto">
          <a:xfrm>
            <a:off x="8131722" y="2520377"/>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Bing Entity Search </a:t>
            </a:r>
          </a:p>
        </p:txBody>
      </p:sp>
      <p:sp>
        <p:nvSpPr>
          <p:cNvPr id="102" name="Rectangle 101">
            <a:extLst>
              <a:ext uri="{FF2B5EF4-FFF2-40B4-BE49-F238E27FC236}">
                <a16:creationId xmlns:a16="http://schemas.microsoft.com/office/drawing/2014/main" id="{B448F8FB-246A-4679-AC20-994DE370B835}"/>
              </a:ext>
            </a:extLst>
          </p:cNvPr>
          <p:cNvSpPr/>
          <p:nvPr/>
        </p:nvSpPr>
        <p:spPr bwMode="auto">
          <a:xfrm>
            <a:off x="8131722" y="5113276"/>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ing Statistics add-in</a:t>
            </a:r>
          </a:p>
        </p:txBody>
      </p:sp>
      <p:pic>
        <p:nvPicPr>
          <p:cNvPr id="64" name="Picture 63">
            <a:extLst>
              <a:ext uri="{FF2B5EF4-FFF2-40B4-BE49-F238E27FC236}">
                <a16:creationId xmlns:a16="http://schemas.microsoft.com/office/drawing/2014/main" id="{8CF39BF8-E4A0-49FB-8659-5BE12B25B199}"/>
              </a:ext>
            </a:extLst>
          </p:cNvPr>
          <p:cNvPicPr>
            <a:picLocks/>
          </p:cNvPicPr>
          <p:nvPr/>
        </p:nvPicPr>
        <p:blipFill>
          <a:blip r:embed="rId7">
            <a:extLst>
              <a:ext uri="{28A0092B-C50C-407E-A947-70E740481C1C}">
                <a14:useLocalDpi xmlns:a14="http://schemas.microsoft.com/office/drawing/2010/main" val="0"/>
              </a:ext>
            </a:extLst>
          </a:blip>
          <a:stretch>
            <a:fillRect/>
          </a:stretch>
        </p:blipFill>
        <p:spPr>
          <a:xfrm>
            <a:off x="2610950" y="1097858"/>
            <a:ext cx="1138299" cy="1142676"/>
          </a:xfrm>
          <a:prstGeom prst="ellipse">
            <a:avLst/>
          </a:prstGeom>
        </p:spPr>
      </p:pic>
      <p:sp>
        <p:nvSpPr>
          <p:cNvPr id="74" name="TextBox 73">
            <a:extLst>
              <a:ext uri="{FF2B5EF4-FFF2-40B4-BE49-F238E27FC236}">
                <a16:creationId xmlns:a16="http://schemas.microsoft.com/office/drawing/2014/main" id="{B3E7A367-18A1-4224-B12E-0B5AE1A4F2C7}"/>
              </a:ext>
            </a:extLst>
          </p:cNvPr>
          <p:cNvSpPr txBox="1"/>
          <p:nvPr/>
        </p:nvSpPr>
        <p:spPr>
          <a:xfrm>
            <a:off x="2220251" y="2011024"/>
            <a:ext cx="1919696" cy="566452"/>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sp>
        <p:nvSpPr>
          <p:cNvPr id="81" name="Rectangle 80">
            <a:extLst>
              <a:ext uri="{FF2B5EF4-FFF2-40B4-BE49-F238E27FC236}">
                <a16:creationId xmlns:a16="http://schemas.microsoft.com/office/drawing/2014/main" id="{E12450A2-86B7-4F60-82E0-BE194D496CE1}"/>
              </a:ext>
            </a:extLst>
          </p:cNvPr>
          <p:cNvSpPr/>
          <p:nvPr/>
        </p:nvSpPr>
        <p:spPr bwMode="auto">
          <a:xfrm>
            <a:off x="2283801" y="2520377"/>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Speaker Recognition </a:t>
            </a:r>
          </a:p>
        </p:txBody>
      </p:sp>
      <p:sp>
        <p:nvSpPr>
          <p:cNvPr id="82" name="Rectangle 81">
            <a:extLst>
              <a:ext uri="{FF2B5EF4-FFF2-40B4-BE49-F238E27FC236}">
                <a16:creationId xmlns:a16="http://schemas.microsoft.com/office/drawing/2014/main" id="{C4DEFA7D-B86C-4211-8F4B-238D755B3F82}"/>
              </a:ext>
            </a:extLst>
          </p:cNvPr>
          <p:cNvSpPr/>
          <p:nvPr/>
        </p:nvSpPr>
        <p:spPr bwMode="auto">
          <a:xfrm>
            <a:off x="2283801" y="2882100"/>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Bing Speech</a:t>
            </a:r>
          </a:p>
        </p:txBody>
      </p:sp>
      <p:sp>
        <p:nvSpPr>
          <p:cNvPr id="116" name="Freeform 5">
            <a:extLst>
              <a:ext uri="{FF2B5EF4-FFF2-40B4-BE49-F238E27FC236}">
                <a16:creationId xmlns:a16="http://schemas.microsoft.com/office/drawing/2014/main" id="{0A2DD7CB-4FF4-4E6B-B200-EF4A454EF3D2}"/>
              </a:ext>
            </a:extLst>
          </p:cNvPr>
          <p:cNvSpPr>
            <a:spLocks/>
          </p:cNvSpPr>
          <p:nvPr/>
        </p:nvSpPr>
        <p:spPr bwMode="auto">
          <a:xfrm>
            <a:off x="10767367" y="1440784"/>
            <a:ext cx="419916" cy="483709"/>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rgbClr val="0063B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sp>
        <p:nvSpPr>
          <p:cNvPr id="68" name="TextBox 67">
            <a:extLst>
              <a:ext uri="{FF2B5EF4-FFF2-40B4-BE49-F238E27FC236}">
                <a16:creationId xmlns:a16="http://schemas.microsoft.com/office/drawing/2014/main" id="{5B549282-3F4C-4DAD-9BAF-C141EFBEC1C9}"/>
              </a:ext>
            </a:extLst>
          </p:cNvPr>
          <p:cNvSpPr txBox="1"/>
          <p:nvPr/>
        </p:nvSpPr>
        <p:spPr>
          <a:xfrm>
            <a:off x="10017477" y="2022524"/>
            <a:ext cx="1919696" cy="566452"/>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bs</a:t>
            </a:r>
            <a:endParaRPr kumimoji="0" lang="en-US" sz="2400" b="1" i="0" u="none" strike="noStrike" kern="1200" cap="none" spc="0" normalizeH="0" baseline="0" noProof="0">
              <a:ln>
                <a:noFill/>
              </a:ln>
              <a:gradFill>
                <a:gsLst>
                  <a:gs pos="64545">
                    <a:srgbClr val="353535"/>
                  </a:gs>
                  <a:gs pos="40000">
                    <a:srgbClr val="353535"/>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107" name="Rectangle 106">
            <a:extLst>
              <a:ext uri="{FF2B5EF4-FFF2-40B4-BE49-F238E27FC236}">
                <a16:creationId xmlns:a16="http://schemas.microsoft.com/office/drawing/2014/main" id="{D13675C5-E9D1-4D28-A6C7-A62E6F805F8D}"/>
              </a:ext>
            </a:extLst>
          </p:cNvPr>
          <p:cNvSpPr/>
          <p:nvPr/>
        </p:nvSpPr>
        <p:spPr bwMode="auto">
          <a:xfrm>
            <a:off x="10081027" y="3248351"/>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Academic Knowledge </a:t>
            </a:r>
          </a:p>
        </p:txBody>
      </p:sp>
      <p:sp>
        <p:nvSpPr>
          <p:cNvPr id="109" name="Rectangle 108">
            <a:extLst>
              <a:ext uri="{FF2B5EF4-FFF2-40B4-BE49-F238E27FC236}">
                <a16:creationId xmlns:a16="http://schemas.microsoft.com/office/drawing/2014/main" id="{643D32E0-191E-46D6-BFF0-5828471985B0}"/>
              </a:ext>
            </a:extLst>
          </p:cNvPr>
          <p:cNvSpPr/>
          <p:nvPr/>
        </p:nvSpPr>
        <p:spPr bwMode="auto">
          <a:xfrm>
            <a:off x="10081027" y="3612338"/>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Entity Linking</a:t>
            </a:r>
          </a:p>
        </p:txBody>
      </p:sp>
      <p:sp>
        <p:nvSpPr>
          <p:cNvPr id="110" name="Rectangle 109">
            <a:extLst>
              <a:ext uri="{FF2B5EF4-FFF2-40B4-BE49-F238E27FC236}">
                <a16:creationId xmlns:a16="http://schemas.microsoft.com/office/drawing/2014/main" id="{80270639-0586-47E3-9187-A50E6330D3D7}"/>
              </a:ext>
            </a:extLst>
          </p:cNvPr>
          <p:cNvSpPr/>
          <p:nvPr/>
        </p:nvSpPr>
        <p:spPr bwMode="auto">
          <a:xfrm>
            <a:off x="10081027" y="3976325"/>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Knowledge </a:t>
            </a:r>
            <a:b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b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Exploration</a:t>
            </a:r>
          </a:p>
        </p:txBody>
      </p:sp>
      <p:sp>
        <p:nvSpPr>
          <p:cNvPr id="113" name="Rectangle 112">
            <a:extLst>
              <a:ext uri="{FF2B5EF4-FFF2-40B4-BE49-F238E27FC236}">
                <a16:creationId xmlns:a16="http://schemas.microsoft.com/office/drawing/2014/main" id="{5D94F6B1-A562-497D-A83E-05BE67390DD7}"/>
              </a:ext>
            </a:extLst>
          </p:cNvPr>
          <p:cNvSpPr/>
          <p:nvPr/>
        </p:nvSpPr>
        <p:spPr bwMode="auto">
          <a:xfrm>
            <a:off x="10081027" y="2520377"/>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Gesture</a:t>
            </a:r>
          </a:p>
        </p:txBody>
      </p:sp>
      <p:sp>
        <p:nvSpPr>
          <p:cNvPr id="114" name="Rectangle 113">
            <a:extLst>
              <a:ext uri="{FF2B5EF4-FFF2-40B4-BE49-F238E27FC236}">
                <a16:creationId xmlns:a16="http://schemas.microsoft.com/office/drawing/2014/main" id="{B9503FB2-2D49-40D0-878C-F953287995DB}"/>
              </a:ext>
            </a:extLst>
          </p:cNvPr>
          <p:cNvSpPr/>
          <p:nvPr/>
        </p:nvSpPr>
        <p:spPr bwMode="auto">
          <a:xfrm>
            <a:off x="10081027" y="2882100"/>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Local Insights</a:t>
            </a:r>
          </a:p>
        </p:txBody>
      </p:sp>
      <p:sp>
        <p:nvSpPr>
          <p:cNvPr id="66" name="Rectangle 65">
            <a:extLst>
              <a:ext uri="{FF2B5EF4-FFF2-40B4-BE49-F238E27FC236}">
                <a16:creationId xmlns:a16="http://schemas.microsoft.com/office/drawing/2014/main" id="{A8AEB21D-5BE8-4E92-B18E-F6378338F81A}"/>
              </a:ext>
            </a:extLst>
          </p:cNvPr>
          <p:cNvSpPr/>
          <p:nvPr/>
        </p:nvSpPr>
        <p:spPr bwMode="auto">
          <a:xfrm>
            <a:off x="10081027" y="4340312"/>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Event Tracking</a:t>
            </a:r>
          </a:p>
        </p:txBody>
      </p:sp>
      <p:sp>
        <p:nvSpPr>
          <p:cNvPr id="97" name="Rectangle 96">
            <a:extLst>
              <a:ext uri="{FF2B5EF4-FFF2-40B4-BE49-F238E27FC236}">
                <a16:creationId xmlns:a16="http://schemas.microsoft.com/office/drawing/2014/main" id="{9DC9C2A2-ADE1-4D42-A7B9-9437BECCF47D}"/>
              </a:ext>
            </a:extLst>
          </p:cNvPr>
          <p:cNvSpPr/>
          <p:nvPr/>
        </p:nvSpPr>
        <p:spPr bwMode="auto">
          <a:xfrm>
            <a:off x="8131722" y="5485497"/>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Bing Visual Search</a:t>
            </a:r>
          </a:p>
        </p:txBody>
      </p:sp>
      <p:sp>
        <p:nvSpPr>
          <p:cNvPr id="99" name="Rectangle 98">
            <a:extLst>
              <a:ext uri="{FF2B5EF4-FFF2-40B4-BE49-F238E27FC236}">
                <a16:creationId xmlns:a16="http://schemas.microsoft.com/office/drawing/2014/main" id="{9C3DC13D-3819-4377-B0EE-6CDF9A6B0C2C}"/>
              </a:ext>
            </a:extLst>
          </p:cNvPr>
          <p:cNvSpPr/>
          <p:nvPr/>
        </p:nvSpPr>
        <p:spPr bwMode="auto">
          <a:xfrm>
            <a:off x="8131722" y="5857716"/>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Bing Custom Search</a:t>
            </a:r>
          </a:p>
        </p:txBody>
      </p:sp>
      <p:sp>
        <p:nvSpPr>
          <p:cNvPr id="50" name="Rectangle 49">
            <a:extLst>
              <a:ext uri="{FF2B5EF4-FFF2-40B4-BE49-F238E27FC236}">
                <a16:creationId xmlns:a16="http://schemas.microsoft.com/office/drawing/2014/main" id="{FBC83791-64A1-434E-AFDC-D7582ED83465}"/>
              </a:ext>
            </a:extLst>
          </p:cNvPr>
          <p:cNvSpPr/>
          <p:nvPr/>
        </p:nvSpPr>
        <p:spPr bwMode="auto">
          <a:xfrm>
            <a:off x="2283801" y="3979969"/>
            <a:ext cx="1792596" cy="1492556"/>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91440" rIns="89630" bIns="44808" numCol="1" spcCol="0" rtlCol="0" fromWordArt="0" anchor="t"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Unified Speech</a:t>
            </a:r>
          </a:p>
          <a:p>
            <a:pPr marL="0" marR="0" lvl="0" indent="0" algn="ctr" defTabSz="860733" rtl="0" eaLnBrk="1" fontAlgn="auto" latinLnBrk="0" hangingPunct="1">
              <a:lnSpc>
                <a:spcPct val="90000"/>
              </a:lnSpc>
              <a:spcBef>
                <a:spcPts val="0"/>
              </a:spcBef>
              <a:spcAft>
                <a:spcPts val="0"/>
              </a:spcAft>
              <a:buClrTx/>
              <a:buSzTx/>
              <a:buFontTx/>
              <a:buNone/>
              <a:tabLst/>
              <a:defRPr/>
            </a:pPr>
            <a:endParaRPr kumimoji="0" lang="en-US" sz="1050" b="0" i="1"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11" name="Rectangle 110">
            <a:extLst>
              <a:ext uri="{FF2B5EF4-FFF2-40B4-BE49-F238E27FC236}">
                <a16:creationId xmlns:a16="http://schemas.microsoft.com/office/drawing/2014/main" id="{9B395C40-7D2A-4538-8A74-2FF6077B9C99}"/>
              </a:ext>
            </a:extLst>
          </p:cNvPr>
          <p:cNvSpPr/>
          <p:nvPr/>
        </p:nvSpPr>
        <p:spPr bwMode="auto">
          <a:xfrm>
            <a:off x="10081027" y="4704299"/>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Answer Search</a:t>
            </a:r>
          </a:p>
        </p:txBody>
      </p:sp>
      <p:sp>
        <p:nvSpPr>
          <p:cNvPr id="112" name="Rectangle 111">
            <a:extLst>
              <a:ext uri="{FF2B5EF4-FFF2-40B4-BE49-F238E27FC236}">
                <a16:creationId xmlns:a16="http://schemas.microsoft.com/office/drawing/2014/main" id="{94CA12EF-836C-4C02-A5AD-29B617346954}"/>
              </a:ext>
            </a:extLst>
          </p:cNvPr>
          <p:cNvSpPr/>
          <p:nvPr/>
        </p:nvSpPr>
        <p:spPr bwMode="auto">
          <a:xfrm>
            <a:off x="10081027" y="5068286"/>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URL Preview</a:t>
            </a:r>
          </a:p>
        </p:txBody>
      </p:sp>
      <p:sp>
        <p:nvSpPr>
          <p:cNvPr id="115" name="Rectangle 114">
            <a:extLst>
              <a:ext uri="{FF2B5EF4-FFF2-40B4-BE49-F238E27FC236}">
                <a16:creationId xmlns:a16="http://schemas.microsoft.com/office/drawing/2014/main" id="{E004AFC3-AD7C-4ED9-802F-31B26FD46231}"/>
              </a:ext>
            </a:extLst>
          </p:cNvPr>
          <p:cNvSpPr/>
          <p:nvPr/>
        </p:nvSpPr>
        <p:spPr bwMode="auto">
          <a:xfrm>
            <a:off x="10081027" y="5432273"/>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Anomaly Finder</a:t>
            </a:r>
          </a:p>
        </p:txBody>
      </p:sp>
      <p:sp>
        <p:nvSpPr>
          <p:cNvPr id="117" name="Rectangle 116">
            <a:extLst>
              <a:ext uri="{FF2B5EF4-FFF2-40B4-BE49-F238E27FC236}">
                <a16:creationId xmlns:a16="http://schemas.microsoft.com/office/drawing/2014/main" id="{275781BE-F171-4C59-9510-4108FAACA621}"/>
              </a:ext>
            </a:extLst>
          </p:cNvPr>
          <p:cNvSpPr/>
          <p:nvPr/>
        </p:nvSpPr>
        <p:spPr bwMode="auto">
          <a:xfrm>
            <a:off x="10081027" y="5796260"/>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Conversation Learner</a:t>
            </a:r>
          </a:p>
        </p:txBody>
      </p:sp>
      <p:sp>
        <p:nvSpPr>
          <p:cNvPr id="118" name="Rectangle 117">
            <a:extLst>
              <a:ext uri="{FF2B5EF4-FFF2-40B4-BE49-F238E27FC236}">
                <a16:creationId xmlns:a16="http://schemas.microsoft.com/office/drawing/2014/main" id="{2AFC0429-EAE8-444C-A9CC-E95833F70C86}"/>
              </a:ext>
            </a:extLst>
          </p:cNvPr>
          <p:cNvSpPr/>
          <p:nvPr/>
        </p:nvSpPr>
        <p:spPr bwMode="auto">
          <a:xfrm>
            <a:off x="10081027" y="6160251"/>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Personality Chat</a:t>
            </a:r>
          </a:p>
        </p:txBody>
      </p:sp>
      <p:pic>
        <p:nvPicPr>
          <p:cNvPr id="120" name="Picture 119">
            <a:extLst>
              <a:ext uri="{FF2B5EF4-FFF2-40B4-BE49-F238E27FC236}">
                <a16:creationId xmlns:a16="http://schemas.microsoft.com/office/drawing/2014/main" id="{74E3ABB0-B3B0-4F34-8525-A267302C84F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09472" y="1097860"/>
            <a:ext cx="1138482" cy="1142677"/>
          </a:xfrm>
          <a:prstGeom prst="ellipse">
            <a:avLst/>
          </a:prstGeom>
        </p:spPr>
      </p:pic>
      <p:sp>
        <p:nvSpPr>
          <p:cNvPr id="121" name="TextBox 120">
            <a:extLst>
              <a:ext uri="{FF2B5EF4-FFF2-40B4-BE49-F238E27FC236}">
                <a16:creationId xmlns:a16="http://schemas.microsoft.com/office/drawing/2014/main" id="{E725439F-9E32-414F-840B-D214B4BE44E7}"/>
              </a:ext>
            </a:extLst>
          </p:cNvPr>
          <p:cNvSpPr txBox="1"/>
          <p:nvPr/>
        </p:nvSpPr>
        <p:spPr>
          <a:xfrm>
            <a:off x="6118865" y="2011023"/>
            <a:ext cx="1919696" cy="566452"/>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sp>
        <p:nvSpPr>
          <p:cNvPr id="122" name="Rectangle 121">
            <a:extLst>
              <a:ext uri="{FF2B5EF4-FFF2-40B4-BE49-F238E27FC236}">
                <a16:creationId xmlns:a16="http://schemas.microsoft.com/office/drawing/2014/main" id="{1A42B609-CBBE-43E8-88D1-1EF28250ACA4}"/>
              </a:ext>
            </a:extLst>
          </p:cNvPr>
          <p:cNvSpPr/>
          <p:nvPr/>
        </p:nvSpPr>
        <p:spPr bwMode="auto">
          <a:xfrm>
            <a:off x="6182415" y="2882100"/>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dirty="0">
                <a:ln>
                  <a:noFill/>
                </a:ln>
                <a:gradFill>
                  <a:gsLst>
                    <a:gs pos="1250">
                      <a:srgbClr val="1A1A1A"/>
                    </a:gs>
                    <a:gs pos="100000">
                      <a:srgbClr val="1A1A1A"/>
                    </a:gs>
                  </a:gsLst>
                </a:gradFill>
                <a:effectLst/>
                <a:uLnTx/>
                <a:uFillTx/>
                <a:latin typeface="Segoe UI"/>
                <a:ea typeface="+mn-ea"/>
                <a:cs typeface="+mn-cs"/>
              </a:rPr>
              <a:t>Custom Decision</a:t>
            </a:r>
          </a:p>
        </p:txBody>
      </p:sp>
      <p:sp>
        <p:nvSpPr>
          <p:cNvPr id="123" name="Rectangle 122">
            <a:extLst>
              <a:ext uri="{FF2B5EF4-FFF2-40B4-BE49-F238E27FC236}">
                <a16:creationId xmlns:a16="http://schemas.microsoft.com/office/drawing/2014/main" id="{24D2724F-9414-485C-A1FD-736D1BE3F249}"/>
              </a:ext>
            </a:extLst>
          </p:cNvPr>
          <p:cNvSpPr/>
          <p:nvPr/>
        </p:nvSpPr>
        <p:spPr bwMode="auto">
          <a:xfrm>
            <a:off x="6182415" y="2520377"/>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dirty="0" err="1">
                <a:ln>
                  <a:noFill/>
                </a:ln>
                <a:gradFill>
                  <a:gsLst>
                    <a:gs pos="1250">
                      <a:srgbClr val="1A1A1A"/>
                    </a:gs>
                    <a:gs pos="100000">
                      <a:srgbClr val="1A1A1A"/>
                    </a:gs>
                  </a:gsLst>
                </a:gradFill>
                <a:effectLst/>
                <a:uLnTx/>
                <a:uFillTx/>
                <a:latin typeface="Segoe UI"/>
                <a:ea typeface="+mn-ea"/>
                <a:cs typeface="+mn-cs"/>
              </a:rPr>
              <a:t>QnA</a:t>
            </a:r>
            <a:r>
              <a:rPr kumimoji="0" lang="en-US" sz="1050" b="1" i="0" u="none" strike="noStrike" kern="0" cap="none" spc="0" normalizeH="0" baseline="0" noProof="0" dirty="0">
                <a:ln>
                  <a:noFill/>
                </a:ln>
                <a:gradFill>
                  <a:gsLst>
                    <a:gs pos="1250">
                      <a:srgbClr val="1A1A1A"/>
                    </a:gs>
                    <a:gs pos="100000">
                      <a:srgbClr val="1A1A1A"/>
                    </a:gs>
                  </a:gsLst>
                </a:gradFill>
                <a:effectLst/>
                <a:uLnTx/>
                <a:uFillTx/>
                <a:latin typeface="Segoe UI"/>
                <a:ea typeface="+mn-ea"/>
                <a:cs typeface="+mn-cs"/>
              </a:rPr>
              <a:t> Maker</a:t>
            </a:r>
          </a:p>
        </p:txBody>
      </p:sp>
      <p:sp>
        <p:nvSpPr>
          <p:cNvPr id="3" name="Title 2">
            <a:extLst>
              <a:ext uri="{FF2B5EF4-FFF2-40B4-BE49-F238E27FC236}">
                <a16:creationId xmlns:a16="http://schemas.microsoft.com/office/drawing/2014/main" id="{B40090B6-123B-4731-9878-A4C8A5422947}"/>
              </a:ext>
            </a:extLst>
          </p:cNvPr>
          <p:cNvSpPr>
            <a:spLocks noGrp="1"/>
          </p:cNvSpPr>
          <p:nvPr>
            <p:ph type="title"/>
          </p:nvPr>
        </p:nvSpPr>
        <p:spPr/>
        <p:txBody>
          <a:bodyPr/>
          <a:lstStyle/>
          <a:p>
            <a:r>
              <a:rPr lang="en-US" altLang="en-US">
                <a:gradFill>
                  <a:gsLst>
                    <a:gs pos="1250">
                      <a:schemeClr val="bg1"/>
                    </a:gs>
                    <a:gs pos="100000">
                      <a:schemeClr val="bg1"/>
                    </a:gs>
                  </a:gsLst>
                  <a:lin ang="5400000" scaled="0"/>
                </a:gradFill>
              </a:rPr>
              <a:t>Microsoft Cognitive Services updates</a:t>
            </a:r>
            <a:endParaRPr lang="en-US">
              <a:gradFill>
                <a:gsLst>
                  <a:gs pos="1250">
                    <a:schemeClr val="bg1"/>
                  </a:gs>
                  <a:gs pos="100000">
                    <a:schemeClr val="bg1"/>
                  </a:gs>
                </a:gsLst>
                <a:lin ang="5400000" scaled="0"/>
              </a:gradFill>
            </a:endParaRPr>
          </a:p>
        </p:txBody>
      </p:sp>
      <p:sp>
        <p:nvSpPr>
          <p:cNvPr id="60" name="Rectangle 59">
            <a:extLst>
              <a:ext uri="{FF2B5EF4-FFF2-40B4-BE49-F238E27FC236}">
                <a16:creationId xmlns:a16="http://schemas.microsoft.com/office/drawing/2014/main" id="{B59542B6-F237-43C5-B6AF-ACA295F2BC1D}"/>
              </a:ext>
            </a:extLst>
          </p:cNvPr>
          <p:cNvSpPr/>
          <p:nvPr/>
        </p:nvSpPr>
        <p:spPr bwMode="auto">
          <a:xfrm>
            <a:off x="2283800" y="3248351"/>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mn-cs"/>
              </a:rPr>
              <a:t>Custom Speech</a:t>
            </a:r>
          </a:p>
        </p:txBody>
      </p:sp>
      <p:sp>
        <p:nvSpPr>
          <p:cNvPr id="61" name="Rectangle 60">
            <a:extLst>
              <a:ext uri="{FF2B5EF4-FFF2-40B4-BE49-F238E27FC236}">
                <a16:creationId xmlns:a16="http://schemas.microsoft.com/office/drawing/2014/main" id="{450A1391-8F0A-41D2-A737-43FB9C377BD9}"/>
              </a:ext>
            </a:extLst>
          </p:cNvPr>
          <p:cNvSpPr/>
          <p:nvPr/>
        </p:nvSpPr>
        <p:spPr bwMode="auto">
          <a:xfrm>
            <a:off x="2283800" y="3612338"/>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mn-cs"/>
              </a:rPr>
              <a:t>Translator Speech</a:t>
            </a:r>
          </a:p>
        </p:txBody>
      </p:sp>
      <p:sp>
        <p:nvSpPr>
          <p:cNvPr id="67" name="Rectangle 66">
            <a:extLst>
              <a:ext uri="{FF2B5EF4-FFF2-40B4-BE49-F238E27FC236}">
                <a16:creationId xmlns:a16="http://schemas.microsoft.com/office/drawing/2014/main" id="{4A151BED-BC15-4A50-BB02-C12666F0661B}"/>
              </a:ext>
            </a:extLst>
          </p:cNvPr>
          <p:cNvSpPr/>
          <p:nvPr/>
        </p:nvSpPr>
        <p:spPr bwMode="auto">
          <a:xfrm>
            <a:off x="2450213" y="4305065"/>
            <a:ext cx="1459772"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lvl="0" algn="ctr" defTabSz="860733">
              <a:lnSpc>
                <a:spcPct val="90000"/>
              </a:lnSpc>
              <a:defRPr/>
            </a:pPr>
            <a:r>
              <a:rPr lang="en-US" sz="1050" kern="0" dirty="0">
                <a:gradFill>
                  <a:gsLst>
                    <a:gs pos="1250">
                      <a:srgbClr val="1A1A1A"/>
                    </a:gs>
                    <a:gs pos="100000">
                      <a:srgbClr val="1A1A1A"/>
                    </a:gs>
                  </a:gsLst>
                  <a:lin ang="5400000" scaled="0"/>
                </a:gradFill>
              </a:rPr>
              <a:t>Speech to Text</a:t>
            </a:r>
            <a:br>
              <a:rPr lang="en-US" sz="1050" kern="0" dirty="0">
                <a:gradFill>
                  <a:gsLst>
                    <a:gs pos="1250">
                      <a:srgbClr val="1A1A1A"/>
                    </a:gs>
                    <a:gs pos="100000">
                      <a:srgbClr val="1A1A1A"/>
                    </a:gs>
                  </a:gsLst>
                  <a:lin ang="5400000" scaled="0"/>
                </a:gradFill>
              </a:rPr>
            </a:br>
            <a:r>
              <a:rPr lang="en-US" sz="800" kern="0" dirty="0">
                <a:gradFill>
                  <a:gsLst>
                    <a:gs pos="1250">
                      <a:srgbClr val="1A1A1A"/>
                    </a:gs>
                    <a:gs pos="100000">
                      <a:srgbClr val="1A1A1A"/>
                    </a:gs>
                  </a:gsLst>
                  <a:lin ang="5400000" scaled="0"/>
                </a:gradFill>
              </a:rPr>
              <a:t>w. Custom Speech</a:t>
            </a:r>
            <a:endParaRPr lang="en-US" sz="400" i="1" kern="0" dirty="0">
              <a:gradFill>
                <a:gsLst>
                  <a:gs pos="1250">
                    <a:srgbClr val="1A1A1A"/>
                  </a:gs>
                  <a:gs pos="100000">
                    <a:srgbClr val="1A1A1A"/>
                  </a:gs>
                </a:gsLst>
                <a:lin ang="5400000" scaled="0"/>
              </a:gradFill>
            </a:endParaRPr>
          </a:p>
        </p:txBody>
      </p:sp>
      <p:sp>
        <p:nvSpPr>
          <p:cNvPr id="70" name="Rectangle 69">
            <a:extLst>
              <a:ext uri="{FF2B5EF4-FFF2-40B4-BE49-F238E27FC236}">
                <a16:creationId xmlns:a16="http://schemas.microsoft.com/office/drawing/2014/main" id="{8191B230-F477-4146-97E2-2D0C5B809D53}"/>
              </a:ext>
            </a:extLst>
          </p:cNvPr>
          <p:cNvSpPr/>
          <p:nvPr/>
        </p:nvSpPr>
        <p:spPr bwMode="auto">
          <a:xfrm>
            <a:off x="2450213" y="4660352"/>
            <a:ext cx="1459772"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lvl="0" algn="ctr" defTabSz="860733">
              <a:lnSpc>
                <a:spcPct val="90000"/>
              </a:lnSpc>
              <a:defRPr/>
            </a:pPr>
            <a:r>
              <a:rPr lang="en-US" sz="1050" kern="0" dirty="0">
                <a:gradFill>
                  <a:gsLst>
                    <a:gs pos="1250">
                      <a:srgbClr val="1A1A1A"/>
                    </a:gs>
                    <a:gs pos="100000">
                      <a:srgbClr val="1A1A1A"/>
                    </a:gs>
                  </a:gsLst>
                  <a:lin ang="5400000" scaled="0"/>
                </a:gradFill>
              </a:rPr>
              <a:t>Text to Speech</a:t>
            </a:r>
            <a:br>
              <a:rPr lang="en-US" sz="1050" kern="0" dirty="0">
                <a:gradFill>
                  <a:gsLst>
                    <a:gs pos="1250">
                      <a:srgbClr val="1A1A1A"/>
                    </a:gs>
                    <a:gs pos="100000">
                      <a:srgbClr val="1A1A1A"/>
                    </a:gs>
                  </a:gsLst>
                  <a:lin ang="5400000" scaled="0"/>
                </a:gradFill>
              </a:rPr>
            </a:br>
            <a:r>
              <a:rPr lang="en-US" sz="800" kern="0" dirty="0">
                <a:gradFill>
                  <a:gsLst>
                    <a:gs pos="1250">
                      <a:srgbClr val="1A1A1A"/>
                    </a:gs>
                    <a:gs pos="100000">
                      <a:srgbClr val="1A1A1A"/>
                    </a:gs>
                  </a:gsLst>
                  <a:lin ang="5400000" scaled="0"/>
                </a:gradFill>
              </a:rPr>
              <a:t>w. Custom Voice</a:t>
            </a:r>
          </a:p>
        </p:txBody>
      </p:sp>
      <p:sp>
        <p:nvSpPr>
          <p:cNvPr id="83" name="Rectangle 82">
            <a:extLst>
              <a:ext uri="{FF2B5EF4-FFF2-40B4-BE49-F238E27FC236}">
                <a16:creationId xmlns:a16="http://schemas.microsoft.com/office/drawing/2014/main" id="{44B1B1AA-D64A-45BF-A0D9-8558B448D6C4}"/>
              </a:ext>
            </a:extLst>
          </p:cNvPr>
          <p:cNvSpPr/>
          <p:nvPr/>
        </p:nvSpPr>
        <p:spPr bwMode="auto">
          <a:xfrm>
            <a:off x="2450213" y="5015639"/>
            <a:ext cx="1459772"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lvl="0" algn="ctr" defTabSz="860733">
              <a:lnSpc>
                <a:spcPct val="90000"/>
              </a:lnSpc>
              <a:defRPr/>
            </a:pPr>
            <a:r>
              <a:rPr lang="en-US" sz="1050" kern="0" dirty="0">
                <a:gradFill>
                  <a:gsLst>
                    <a:gs pos="1250">
                      <a:srgbClr val="1A1A1A"/>
                    </a:gs>
                    <a:gs pos="100000">
                      <a:srgbClr val="1A1A1A"/>
                    </a:gs>
                  </a:gsLst>
                  <a:lin ang="5400000" scaled="0"/>
                </a:gradFill>
              </a:rPr>
              <a:t>Speech Translation</a:t>
            </a:r>
            <a:br>
              <a:rPr lang="en-US" sz="1050" kern="0" dirty="0">
                <a:gradFill>
                  <a:gsLst>
                    <a:gs pos="1250">
                      <a:srgbClr val="1A1A1A"/>
                    </a:gs>
                    <a:gs pos="100000">
                      <a:srgbClr val="1A1A1A"/>
                    </a:gs>
                  </a:gsLst>
                  <a:lin ang="5400000" scaled="0"/>
                </a:gradFill>
              </a:rPr>
            </a:br>
            <a:r>
              <a:rPr lang="en-US" sz="800" kern="0" dirty="0">
                <a:gradFill>
                  <a:gsLst>
                    <a:gs pos="1250">
                      <a:srgbClr val="1A1A1A"/>
                    </a:gs>
                    <a:gs pos="100000">
                      <a:srgbClr val="1A1A1A"/>
                    </a:gs>
                  </a:gsLst>
                  <a:lin ang="5400000" scaled="0"/>
                </a:gradFill>
              </a:rPr>
              <a:t>w. Custom Translator</a:t>
            </a:r>
          </a:p>
        </p:txBody>
      </p:sp>
      <p:sp>
        <p:nvSpPr>
          <p:cNvPr id="84" name="Rectangle 83">
            <a:extLst>
              <a:ext uri="{FF2B5EF4-FFF2-40B4-BE49-F238E27FC236}">
                <a16:creationId xmlns:a16="http://schemas.microsoft.com/office/drawing/2014/main" id="{A6ECC83B-95EB-462C-9D52-6562B10749D5}"/>
              </a:ext>
            </a:extLst>
          </p:cNvPr>
          <p:cNvSpPr/>
          <p:nvPr/>
        </p:nvSpPr>
        <p:spPr bwMode="auto">
          <a:xfrm>
            <a:off x="8304258" y="3569775"/>
            <a:ext cx="1459772"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lvl="0" algn="ctr" defTabSz="860733">
              <a:lnSpc>
                <a:spcPct val="90000"/>
              </a:lnSpc>
              <a:defRPr/>
            </a:pPr>
            <a:r>
              <a:rPr lang="en-US" sz="1050" kern="0" dirty="0">
                <a:gradFill>
                  <a:gsLst>
                    <a:gs pos="1250">
                      <a:srgbClr val="1A1A1A"/>
                    </a:gs>
                    <a:gs pos="100000">
                      <a:srgbClr val="1A1A1A"/>
                    </a:gs>
                  </a:gsLst>
                  <a:lin ang="5400000" scaled="0"/>
                </a:gradFill>
              </a:rPr>
              <a:t>Web Search</a:t>
            </a:r>
          </a:p>
        </p:txBody>
      </p:sp>
      <p:sp>
        <p:nvSpPr>
          <p:cNvPr id="86" name="Rectangle 85">
            <a:extLst>
              <a:ext uri="{FF2B5EF4-FFF2-40B4-BE49-F238E27FC236}">
                <a16:creationId xmlns:a16="http://schemas.microsoft.com/office/drawing/2014/main" id="{B7DE40E1-0CC7-489C-B462-48E192AFCCAC}"/>
              </a:ext>
            </a:extLst>
          </p:cNvPr>
          <p:cNvSpPr/>
          <p:nvPr/>
        </p:nvSpPr>
        <p:spPr bwMode="auto">
          <a:xfrm>
            <a:off x="8304258" y="3927192"/>
            <a:ext cx="1459772"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lvl="0" algn="ctr" defTabSz="860733">
              <a:lnSpc>
                <a:spcPct val="90000"/>
              </a:lnSpc>
              <a:defRPr/>
            </a:pPr>
            <a:r>
              <a:rPr lang="en-US" sz="1050" kern="0" dirty="0">
                <a:gradFill>
                  <a:gsLst>
                    <a:gs pos="1250">
                      <a:srgbClr val="1A1A1A"/>
                    </a:gs>
                    <a:gs pos="100000">
                      <a:srgbClr val="1A1A1A"/>
                    </a:gs>
                  </a:gsLst>
                  <a:lin ang="5400000" scaled="0"/>
                </a:gradFill>
              </a:rPr>
              <a:t>Image Search</a:t>
            </a:r>
          </a:p>
        </p:txBody>
      </p:sp>
      <p:sp>
        <p:nvSpPr>
          <p:cNvPr id="87" name="Rectangle 86">
            <a:extLst>
              <a:ext uri="{FF2B5EF4-FFF2-40B4-BE49-F238E27FC236}">
                <a16:creationId xmlns:a16="http://schemas.microsoft.com/office/drawing/2014/main" id="{4D3797F0-B0A4-461A-90EC-D330A94E988A}"/>
              </a:ext>
            </a:extLst>
          </p:cNvPr>
          <p:cNvSpPr/>
          <p:nvPr/>
        </p:nvSpPr>
        <p:spPr bwMode="auto">
          <a:xfrm>
            <a:off x="8304258" y="4284609"/>
            <a:ext cx="1459772"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lvl="0" algn="ctr" defTabSz="860733">
              <a:lnSpc>
                <a:spcPct val="90000"/>
              </a:lnSpc>
              <a:defRPr/>
            </a:pPr>
            <a:r>
              <a:rPr lang="en-US" sz="1050" kern="0" dirty="0">
                <a:gradFill>
                  <a:gsLst>
                    <a:gs pos="1250">
                      <a:srgbClr val="1A1A1A"/>
                    </a:gs>
                    <a:gs pos="100000">
                      <a:srgbClr val="1A1A1A"/>
                    </a:gs>
                  </a:gsLst>
                  <a:lin ang="5400000" scaled="0"/>
                </a:gradFill>
              </a:rPr>
              <a:t>News Search</a:t>
            </a:r>
          </a:p>
        </p:txBody>
      </p:sp>
      <p:sp>
        <p:nvSpPr>
          <p:cNvPr id="88" name="Rectangle 87">
            <a:extLst>
              <a:ext uri="{FF2B5EF4-FFF2-40B4-BE49-F238E27FC236}">
                <a16:creationId xmlns:a16="http://schemas.microsoft.com/office/drawing/2014/main" id="{28EDD47C-4873-469A-8EAA-72CA50BA4780}"/>
              </a:ext>
            </a:extLst>
          </p:cNvPr>
          <p:cNvSpPr/>
          <p:nvPr/>
        </p:nvSpPr>
        <p:spPr bwMode="auto">
          <a:xfrm>
            <a:off x="8304258" y="4642026"/>
            <a:ext cx="1459772"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lvl="0" algn="ctr" defTabSz="860733">
              <a:lnSpc>
                <a:spcPct val="90000"/>
              </a:lnSpc>
              <a:defRPr/>
            </a:pPr>
            <a:r>
              <a:rPr lang="en-US" sz="1050" kern="0" dirty="0">
                <a:gradFill>
                  <a:gsLst>
                    <a:gs pos="1250">
                      <a:srgbClr val="1A1A1A"/>
                    </a:gs>
                    <a:gs pos="100000">
                      <a:srgbClr val="1A1A1A"/>
                    </a:gs>
                  </a:gsLst>
                  <a:lin ang="5400000" scaled="0"/>
                </a:gradFill>
              </a:rPr>
              <a:t>Video Search</a:t>
            </a:r>
            <a:endParaRPr lang="en-US" sz="1100" kern="0" dirty="0">
              <a:gradFill>
                <a:gsLst>
                  <a:gs pos="1250">
                    <a:srgbClr val="1A1A1A"/>
                  </a:gs>
                  <a:gs pos="100000">
                    <a:srgbClr val="1A1A1A"/>
                  </a:gs>
                </a:gsLst>
                <a:lin ang="5400000" scaled="0"/>
              </a:gradFill>
            </a:endParaRPr>
          </a:p>
        </p:txBody>
      </p:sp>
    </p:spTree>
    <p:extLst>
      <p:ext uri="{BB962C8B-B14F-4D97-AF65-F5344CB8AC3E}">
        <p14:creationId xmlns:p14="http://schemas.microsoft.com/office/powerpoint/2010/main" val="2930613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3"/>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Cognitive Services capabilities</a:t>
            </a:r>
            <a:br>
              <a:rPr lang="en-US" dirty="0"/>
            </a:br>
            <a:r>
              <a:rPr lang="en-US" sz="2400" dirty="0"/>
              <a:t>Infuse your apps, websites, and bots with human-like intelligence</a:t>
            </a:r>
            <a:br>
              <a:rPr lang="en-US" sz="2400" dirty="0"/>
            </a:br>
            <a:endParaRPr lang="en-US" sz="2400" dirty="0"/>
          </a:p>
        </p:txBody>
      </p:sp>
      <p:grpSp>
        <p:nvGrpSpPr>
          <p:cNvPr id="26" name="Group 25">
            <a:extLst>
              <a:ext uri="{FF2B5EF4-FFF2-40B4-BE49-F238E27FC236}">
                <a16:creationId xmlns:a16="http://schemas.microsoft.com/office/drawing/2014/main" id="{40AAB68D-06DF-43C6-904A-C4854800A4B4}"/>
              </a:ext>
            </a:extLst>
          </p:cNvPr>
          <p:cNvGrpSpPr/>
          <p:nvPr/>
        </p:nvGrpSpPr>
        <p:grpSpPr>
          <a:xfrm>
            <a:off x="270944" y="1681532"/>
            <a:ext cx="2312496" cy="4731968"/>
            <a:chOff x="270944" y="1681532"/>
            <a:chExt cx="2312496" cy="4731968"/>
          </a:xfrm>
        </p:grpSpPr>
        <p:grpSp>
          <p:nvGrpSpPr>
            <p:cNvPr id="9" name="Group 8">
              <a:extLst>
                <a:ext uri="{FF2B5EF4-FFF2-40B4-BE49-F238E27FC236}">
                  <a16:creationId xmlns:a16="http://schemas.microsoft.com/office/drawing/2014/main" id="{9442733C-C85B-49CD-9E36-0DD3D131DF47}"/>
                </a:ext>
              </a:extLst>
            </p:cNvPr>
            <p:cNvGrpSpPr/>
            <p:nvPr/>
          </p:nvGrpSpPr>
          <p:grpSpPr>
            <a:xfrm>
              <a:off x="467072" y="1681532"/>
              <a:ext cx="1920240" cy="4731968"/>
              <a:chOff x="467072" y="1681532"/>
              <a:chExt cx="1920240" cy="4731968"/>
            </a:xfrm>
          </p:grpSpPr>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Object, scene, and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ctivity detec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ace recogni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ident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elebrity and landmark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motion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and handwriting recognition (OCR)</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Video metadata, audio,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keyframe extrac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nt moderation </a:t>
                </a:r>
              </a:p>
              <a:p>
                <a:pPr algn="ctr" defTabSz="951004" fontAlgn="base">
                  <a:lnSpc>
                    <a:spcPct val="90000"/>
                  </a:lnSpc>
                  <a:spcBef>
                    <a:spcPct val="0"/>
                  </a:spcBef>
                  <a:spcAft>
                    <a:spcPts val="800"/>
                  </a:spcAft>
                  <a:defRPr/>
                </a:pPr>
                <a:r>
                  <a:rPr lang="en-US" sz="1100" kern="0" dirty="0">
                    <a:gradFill>
                      <a:gsLst>
                        <a:gs pos="1250">
                          <a:srgbClr val="1A1A1A"/>
                        </a:gs>
                        <a:gs pos="100000">
                          <a:srgbClr val="1A1A1A"/>
                        </a:gs>
                      </a:gsLst>
                      <a:lin ang="0" scaled="0"/>
                    </a:gradFill>
                    <a:cs typeface="Segoe UI Semibold" panose="020B0702040204020203" pitchFamily="34" charset="0"/>
                  </a:rPr>
                  <a:t>Custom image recognition</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grpSp>
      <p:grpSp>
        <p:nvGrpSpPr>
          <p:cNvPr id="28" name="Group 27">
            <a:extLst>
              <a:ext uri="{FF2B5EF4-FFF2-40B4-BE49-F238E27FC236}">
                <a16:creationId xmlns:a16="http://schemas.microsoft.com/office/drawing/2014/main" id="{F841D726-86F0-4C72-8EBC-6F05FEA94A26}"/>
              </a:ext>
            </a:extLst>
          </p:cNvPr>
          <p:cNvGrpSpPr/>
          <p:nvPr/>
        </p:nvGrpSpPr>
        <p:grpSpPr>
          <a:xfrm>
            <a:off x="4948635" y="1681532"/>
            <a:ext cx="2331135" cy="4724582"/>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Language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sentiment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ey phras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tity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ll checking</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text content moderation, PII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xtual language understanding</a:t>
                </a: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627341" y="1681532"/>
            <a:ext cx="2348759" cy="4731968"/>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web, news, imag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ideo search resul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rends for video, new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 identification, classification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dentification of similar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s and produc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class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acquis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or named entiti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arch query autosugges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custom search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09282" y="1681532"/>
            <a:ext cx="2322323" cy="4724582"/>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transcrip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to-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Synthesis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to-speech)</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Real-time speech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aker identifica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er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Speech models for transcription and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voice</a:t>
                </a: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682357"/>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287988" y="1681532"/>
            <a:ext cx="2339947" cy="4731968"/>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Q&amp;A extraction from unstructured 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base crea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rom collections of Q&amp;A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mantic matching for knowledge bas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682357"/>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grpSp>
    </p:spTree>
    <p:extLst>
      <p:ext uri="{BB962C8B-B14F-4D97-AF65-F5344CB8AC3E}">
        <p14:creationId xmlns:p14="http://schemas.microsoft.com/office/powerpoint/2010/main" val="2429082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8"/>
                                        </p:tgtEl>
                                        <p:attrNameLst>
                                          <p:attrName>ppt_x</p:attrName>
                                          <p:attrName>ppt_y</p:attrName>
                                        </p:attrNameLst>
                                      </p:cBhvr>
                                      <p:rCtr x="2331" y="0"/>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63" presetClass="path" presetSubtype="0" decel="100000" fill="hold" nodeType="withEffect">
                                  <p:stCondLst>
                                    <p:cond delay="0"/>
                                  </p:stCondLst>
                                  <p:childTnLst>
                                    <p:animMotion origin="layout" path="M 2.70833E-6 3.7037E-6 L 0.04674 3.7037E-6 " pathEditMode="relative" rAng="0" ptsTypes="AA">
                                      <p:cBhvr>
                                        <p:cTn id="15" dur="750" spd="-100000" fill="hold"/>
                                        <p:tgtEl>
                                          <p:spTgt spid="26"/>
                                        </p:tgtEl>
                                        <p:attrNameLst>
                                          <p:attrName>ppt_x</p:attrName>
                                          <p:attrName>ppt_y</p:attrName>
                                        </p:attrNameLst>
                                      </p:cBhvr>
                                      <p:rCtr x="2331" y="0"/>
                                    </p:animMotion>
                                  </p:childTnLst>
                                </p:cTn>
                              </p:par>
                              <p:par>
                                <p:cTn id="16" presetID="10" presetClass="entr" presetSubtype="0" fill="hold" nodeType="withEffect">
                                  <p:stCondLst>
                                    <p:cond delay="10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63" presetClass="path" presetSubtype="0" decel="100000" fill="hold" nodeType="withEffect">
                                  <p:stCondLst>
                                    <p:cond delay="100"/>
                                  </p:stCondLst>
                                  <p:childTnLst>
                                    <p:animMotion origin="layout" path="M -2.08333E-7 2.22222E-6 L 0.04675 2.22222E-6 " pathEditMode="relative" rAng="0" ptsTypes="AA">
                                      <p:cBhvr>
                                        <p:cTn id="20" dur="750" spd="-100000" fill="hold"/>
                                        <p:tgtEl>
                                          <p:spTgt spid="27"/>
                                        </p:tgtEl>
                                        <p:attrNameLst>
                                          <p:attrName>ppt_x</p:attrName>
                                          <p:attrName>ppt_y</p:attrName>
                                        </p:attrNameLst>
                                      </p:cBhvr>
                                      <p:rCtr x="2331" y="0"/>
                                    </p:animMotion>
                                  </p:childTnLst>
                                </p:cTn>
                              </p:par>
                              <p:par>
                                <p:cTn id="21" presetID="10" presetClass="entr" presetSubtype="0" fill="hold" nodeType="withEffect">
                                  <p:stCondLst>
                                    <p:cond delay="2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63" presetClass="path" presetSubtype="0" decel="100000" fill="hold" nodeType="withEffect">
                                  <p:stCondLst>
                                    <p:cond delay="200"/>
                                  </p:stCondLst>
                                  <p:childTnLst>
                                    <p:animMotion origin="layout" path="M -2.08333E-7 2.22222E-6 L 0.04675 2.22222E-6 " pathEditMode="relative" rAng="0" ptsTypes="AA">
                                      <p:cBhvr>
                                        <p:cTn id="25" dur="750" spd="-100000" fill="hold"/>
                                        <p:tgtEl>
                                          <p:spTgt spid="28"/>
                                        </p:tgtEl>
                                        <p:attrNameLst>
                                          <p:attrName>ppt_x</p:attrName>
                                          <p:attrName>ppt_y</p:attrName>
                                        </p:attrNameLst>
                                      </p:cBhvr>
                                      <p:rCtr x="2331" y="0"/>
                                    </p:animMotion>
                                  </p:childTnLst>
                                </p:cTn>
                              </p:par>
                              <p:par>
                                <p:cTn id="26" presetID="10" presetClass="entr" presetSubtype="0" fill="hold" nodeType="withEffect">
                                  <p:stCondLst>
                                    <p:cond delay="30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63" presetClass="path" presetSubtype="0" decel="100000" fill="hold" nodeType="withEffect">
                                  <p:stCondLst>
                                    <p:cond delay="300"/>
                                  </p:stCondLst>
                                  <p:childTnLst>
                                    <p:animMotion origin="layout" path="M -2.08333E-7 2.22222E-6 L 0.04675 2.22222E-6 " pathEditMode="relative" rAng="0" ptsTypes="AA">
                                      <p:cBhvr>
                                        <p:cTn id="30" dur="750" spd="-100000" fill="hold"/>
                                        <p:tgtEl>
                                          <p:spTgt spid="39"/>
                                        </p:tgtEl>
                                        <p:attrNameLst>
                                          <p:attrName>ppt_x</p:attrName>
                                          <p:attrName>ppt_y</p:attrName>
                                        </p:attrNameLst>
                                      </p:cBhvr>
                                      <p:rCtr x="2331" y="0"/>
                                    </p:animMotion>
                                  </p:childTnLst>
                                </p:cTn>
                              </p:par>
                              <p:par>
                                <p:cTn id="31" presetID="10" presetClass="entr" presetSubtype="0" fill="hold" nodeType="withEffect">
                                  <p:stCondLst>
                                    <p:cond delay="40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63" presetClass="path" presetSubtype="0" decel="100000" fill="hold" nodeType="withEffect">
                                  <p:stCondLst>
                                    <p:cond delay="400"/>
                                  </p:stCondLst>
                                  <p:childTnLst>
                                    <p:animMotion origin="layout" path="M -2.08333E-7 2.22222E-6 L 0.04675 2.22222E-6 " pathEditMode="relative" rAng="0" ptsTypes="AA">
                                      <p:cBhvr>
                                        <p:cTn id="35" dur="750" spd="-100000" fill="hold"/>
                                        <p:tgtEl>
                                          <p:spTgt spid="2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2424" y="2531"/>
          <a:ext cx="1556" cy="1556"/>
        </p:xfrm>
        <a:graphic>
          <a:graphicData uri="http://schemas.openxmlformats.org/presentationml/2006/ole">
            <mc:AlternateContent xmlns:mc="http://schemas.openxmlformats.org/markup-compatibility/2006">
              <mc:Choice xmlns:v="urn:schemas-microsoft-com:vml" Requires="v">
                <p:oleObj spid="_x0000_s47110"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2424" y="2531"/>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ext uri="{D42A27DB-BD31-4B8C-83A1-F6EECF244321}">
                <p14:modId xmlns:p14="http://schemas.microsoft.com/office/powerpoint/2010/main" val="3393753425"/>
              </p:ext>
            </p:extLst>
          </p:nvPr>
        </p:nvGraphicFramePr>
        <p:xfrm>
          <a:off x="493993" y="4667570"/>
          <a:ext cx="2139392" cy="1057452"/>
        </p:xfrm>
        <a:graphic>
          <a:graphicData uri="http://schemas.openxmlformats.org/drawingml/2006/table">
            <a:tbl>
              <a:tblPr firstRow="1" bandRow="1"/>
              <a:tblGrid>
                <a:gridCol w="1111393">
                  <a:extLst>
                    <a:ext uri="{9D8B030D-6E8A-4147-A177-3AD203B41FA5}">
                      <a16:colId xmlns:a16="http://schemas.microsoft.com/office/drawing/2014/main" val="20000"/>
                    </a:ext>
                  </a:extLst>
                </a:gridCol>
                <a:gridCol w="1027999">
                  <a:extLst>
                    <a:ext uri="{9D8B030D-6E8A-4147-A177-3AD203B41FA5}">
                      <a16:colId xmlns:a16="http://schemas.microsoft.com/office/drawing/2014/main" val="20001"/>
                    </a:ext>
                  </a:extLst>
                </a:gridCol>
              </a:tblGrid>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1374">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8" name="Group 7">
            <a:extLst>
              <a:ext uri="{FF2B5EF4-FFF2-40B4-BE49-F238E27FC236}">
                <a16:creationId xmlns:a16="http://schemas.microsoft.com/office/drawing/2014/main" id="{7378361C-EDD6-4EC3-ACEA-2B3010346395}"/>
              </a:ext>
            </a:extLst>
          </p:cNvPr>
          <p:cNvGrpSpPr/>
          <p:nvPr/>
        </p:nvGrpSpPr>
        <p:grpSpPr>
          <a:xfrm>
            <a:off x="443854" y="1248859"/>
            <a:ext cx="2218629" cy="5051138"/>
            <a:chOff x="454375" y="1248859"/>
            <a:chExt cx="2218629" cy="5051138"/>
          </a:xfrm>
        </p:grpSpPr>
        <p:sp>
          <p:nvSpPr>
            <p:cNvPr id="17" name="Rectangle 16"/>
            <p:cNvSpPr/>
            <p:nvPr/>
          </p:nvSpPr>
          <p:spPr bwMode="auto">
            <a:xfrm>
              <a:off x="1664472" y="519074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81" name="Rectangle 80"/>
            <p:cNvSpPr/>
            <p:nvPr/>
          </p:nvSpPr>
          <p:spPr bwMode="auto">
            <a:xfrm>
              <a:off x="1830226" y="519074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91" name="Rectangle 90"/>
            <p:cNvSpPr/>
            <p:nvPr/>
          </p:nvSpPr>
          <p:spPr bwMode="auto">
            <a:xfrm>
              <a:off x="1995978" y="519074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4" name="Rectangle 103"/>
            <p:cNvSpPr/>
            <p:nvPr/>
          </p:nvSpPr>
          <p:spPr bwMode="auto">
            <a:xfrm>
              <a:off x="1664472" y="533097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70" name="Rectangle 69"/>
            <p:cNvSpPr/>
            <p:nvPr/>
          </p:nvSpPr>
          <p:spPr bwMode="auto">
            <a:xfrm>
              <a:off x="454375" y="1248859"/>
              <a:ext cx="2218629" cy="5051138"/>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02631" y="3328140"/>
              <a:ext cx="2122117" cy="1239947"/>
            </a:xfrm>
            <a:prstGeom prst="rect">
              <a:avLst/>
            </a:prstGeom>
          </p:spPr>
        </p:pic>
        <p:sp>
          <p:nvSpPr>
            <p:cNvPr id="79" name="Oval Callout 6"/>
            <p:cNvSpPr/>
            <p:nvPr/>
          </p:nvSpPr>
          <p:spPr bwMode="auto">
            <a:xfrm>
              <a:off x="1229721" y="1915078"/>
              <a:ext cx="1284879" cy="457062"/>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What is in the image or video?</a:t>
              </a:r>
            </a:p>
          </p:txBody>
        </p:sp>
        <p:sp>
          <p:nvSpPr>
            <p:cNvPr id="80" name="Pentagon 79"/>
            <p:cNvSpPr/>
            <p:nvPr/>
          </p:nvSpPr>
          <p:spPr bwMode="auto">
            <a:xfrm rot="5400000">
              <a:off x="13750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R="0" lvl="0" indent="0" defTabSz="895709" fontAlgn="base">
                <a:lnSpc>
                  <a:spcPct val="90000"/>
                </a:lnSpc>
                <a:spcBef>
                  <a:spcPct val="0"/>
                </a:spcBef>
                <a:spcAft>
                  <a:spcPct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Computer Vision</a:t>
              </a:r>
            </a:p>
          </p:txBody>
        </p:sp>
      </p:grpSp>
      <p:grpSp>
        <p:nvGrpSpPr>
          <p:cNvPr id="15" name="Group 14">
            <a:extLst>
              <a:ext uri="{FF2B5EF4-FFF2-40B4-BE49-F238E27FC236}">
                <a16:creationId xmlns:a16="http://schemas.microsoft.com/office/drawing/2014/main" id="{10377B17-3D2F-4226-8BD8-3DD550191F37}"/>
              </a:ext>
            </a:extLst>
          </p:cNvPr>
          <p:cNvGrpSpPr/>
          <p:nvPr/>
        </p:nvGrpSpPr>
        <p:grpSpPr>
          <a:xfrm>
            <a:off x="454375" y="1295762"/>
            <a:ext cx="2218629" cy="478228"/>
            <a:chOff x="454375" y="1295762"/>
            <a:chExt cx="2218629" cy="478228"/>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sion</a:t>
              </a:r>
            </a:p>
          </p:txBody>
        </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t="13765"/>
            <a:stretch/>
          </p:blipFill>
          <p:spPr>
            <a:xfrm>
              <a:off x="2123297" y="1316928"/>
              <a:ext cx="530014" cy="457062"/>
            </a:xfrm>
            <a:prstGeom prst="rect">
              <a:avLst/>
            </a:prstGeom>
          </p:spPr>
        </p:pic>
      </p:grpSp>
      <p:grpSp>
        <p:nvGrpSpPr>
          <p:cNvPr id="10" name="Group 9">
            <a:extLst>
              <a:ext uri="{FF2B5EF4-FFF2-40B4-BE49-F238E27FC236}">
                <a16:creationId xmlns:a16="http://schemas.microsoft.com/office/drawing/2014/main" id="{369087AD-A19F-4746-8589-1B76D50F7D40}"/>
              </a:ext>
            </a:extLst>
          </p:cNvPr>
          <p:cNvGrpSpPr/>
          <p:nvPr/>
        </p:nvGrpSpPr>
        <p:grpSpPr>
          <a:xfrm>
            <a:off x="2748101" y="1295761"/>
            <a:ext cx="2218629" cy="5006291"/>
            <a:chOff x="2748101" y="1295761"/>
            <a:chExt cx="2218629" cy="5006291"/>
          </a:xfrm>
        </p:grpSpPr>
        <p:sp>
          <p:nvSpPr>
            <p:cNvPr id="92" name="Rectangle 91"/>
            <p:cNvSpPr/>
            <p:nvPr/>
          </p:nvSpPr>
          <p:spPr bwMode="auto">
            <a:xfrm>
              <a:off x="2748101"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7" name="Oval Callout 6"/>
            <p:cNvSpPr/>
            <p:nvPr/>
          </p:nvSpPr>
          <p:spPr bwMode="auto">
            <a:xfrm>
              <a:off x="3433764" y="1915078"/>
              <a:ext cx="1406430" cy="761180"/>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defTabSz="895709">
                <a:lnSpc>
                  <a:spcPct val="90000"/>
                </a:lnSpc>
              </a:pPr>
              <a:r>
                <a:rPr lang="en-US" sz="1100" b="1" kern="0" dirty="0">
                  <a:gradFill>
                    <a:gsLst>
                      <a:gs pos="84000">
                        <a:srgbClr val="3F3F3F"/>
                      </a:gs>
                      <a:gs pos="43000">
                        <a:srgbClr val="3F3F3F"/>
                      </a:gs>
                    </a:gsLst>
                    <a:lin ang="10800000" scaled="0"/>
                  </a:gradFill>
                  <a:latin typeface="Segoe UI"/>
                  <a:cs typeface="Segoe UI" pitchFamily="34" charset="0"/>
                </a:rPr>
                <a:t>Give me directions to the nearest local branch</a:t>
              </a:r>
            </a:p>
          </p:txBody>
        </p:sp>
        <p:sp>
          <p:nvSpPr>
            <p:cNvPr id="100" name="Pentagon 99"/>
            <p:cNvSpPr/>
            <p:nvPr/>
          </p:nvSpPr>
          <p:spPr bwMode="auto">
            <a:xfrm rot="5400000">
              <a:off x="3668818"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R="0" lvl="0" indent="0" defTabSz="895709" fontAlgn="base">
                <a:lnSpc>
                  <a:spcPct val="90000"/>
                </a:lnSpc>
                <a:spcBef>
                  <a:spcPct val="0"/>
                </a:spcBef>
                <a:spcAft>
                  <a:spcPct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Speech Service</a:t>
              </a:r>
            </a:p>
          </p:txBody>
        </p:sp>
        <p:grpSp>
          <p:nvGrpSpPr>
            <p:cNvPr id="47" name="Group 46"/>
            <p:cNvGrpSpPr/>
            <p:nvPr/>
          </p:nvGrpSpPr>
          <p:grpSpPr>
            <a:xfrm>
              <a:off x="2825290" y="3663978"/>
              <a:ext cx="2064251" cy="2012176"/>
              <a:chOff x="2067831" y="3143351"/>
              <a:chExt cx="1548408" cy="1509346"/>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w="6350">
                  <a:solidFill>
                    <a:schemeClr val="bg2">
                      <a:lumMod val="85000"/>
                    </a:schemeClr>
                  </a:solidFill>
                </a:ln>
              </p:spPr>
              <p:txBody>
                <a:bodyPr wrap="square" lIns="91440" tIns="45720" rIns="91440" bIns="45720"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32742">
                    <a:spcAft>
                      <a:spcPts val="575"/>
                    </a:spcAft>
                    <a:defRPr/>
                  </a:pPr>
                  <a:r>
                    <a:rPr lang="en-US" i="0" kern="1200" dirty="0">
                      <a:gradFill>
                        <a:gsLst>
                          <a:gs pos="70732">
                            <a:schemeClr val="tx1"/>
                          </a:gs>
                          <a:gs pos="50000">
                            <a:schemeClr val="tx1"/>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w="6350">
                  <a:solidFill>
                    <a:schemeClr val="bg2">
                      <a:lumMod val="85000"/>
                    </a:schemeClr>
                  </a:solidFill>
                </a:ln>
              </p:spPr>
              <p:txBody>
                <a:bodyPr wrap="square" lIns="91440" tIns="45720" rIns="91440" bIns="45720"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32742">
                    <a:spcAft>
                      <a:spcPts val="575"/>
                    </a:spcAft>
                    <a:defRPr/>
                  </a:pPr>
                  <a:r>
                    <a:rPr lang="en-US" i="0" kern="1200" dirty="0">
                      <a:gradFill>
                        <a:gsLst>
                          <a:gs pos="70732">
                            <a:schemeClr val="tx1"/>
                          </a:gs>
                          <a:gs pos="50000">
                            <a:schemeClr val="tx1"/>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w="6350">
                  <a:solidFill>
                    <a:schemeClr val="bg2">
                      <a:lumMod val="85000"/>
                    </a:schemeClr>
                  </a:solidFill>
                </a:ln>
              </p:spPr>
              <p:txBody>
                <a:bodyPr wrap="square" lIns="91440" tIns="45720" rIns="91440" bIns="45720" rtlCol="0" anchor="ctr" anchorCtr="0">
                  <a:noAutofit/>
                </a:bodyPr>
                <a:lstStyle/>
                <a:p>
                  <a:pPr defTabSz="932742">
                    <a:lnSpc>
                      <a:spcPct val="90000"/>
                    </a:lnSpc>
                    <a:spcAft>
                      <a:spcPts val="575"/>
                    </a:spcAft>
                    <a:defRPr/>
                  </a:pPr>
                  <a:r>
                    <a:rPr lang="en-US" sz="1100" dirty="0">
                      <a:gradFill>
                        <a:gsLst>
                          <a:gs pos="70732">
                            <a:schemeClr val="tx1"/>
                          </a:gs>
                          <a:gs pos="50000">
                            <a:schemeClr val="tx1"/>
                          </a:gs>
                        </a:gsLst>
                        <a:lin ang="5400000" scaled="1"/>
                      </a:gradFill>
                      <a:latin typeface="Segoe UI"/>
                      <a:cs typeface="Segoe UI" panose="020B0502040204020203" pitchFamily="34" charset="0"/>
                    </a:rPr>
                    <a:t>Extract intent of user</a:t>
                  </a:r>
                </a:p>
              </p:txBody>
            </p:sp>
          </p:gr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21899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6" name="Group 15">
            <a:extLst>
              <a:ext uri="{FF2B5EF4-FFF2-40B4-BE49-F238E27FC236}">
                <a16:creationId xmlns:a16="http://schemas.microsoft.com/office/drawing/2014/main" id="{059346EB-1F9E-4A9D-A778-7E67BC45B266}"/>
              </a:ext>
            </a:extLst>
          </p:cNvPr>
          <p:cNvGrpSpPr/>
          <p:nvPr/>
        </p:nvGrpSpPr>
        <p:grpSpPr>
          <a:xfrm>
            <a:off x="2748101" y="1248859"/>
            <a:ext cx="2218629" cy="519857"/>
            <a:chOff x="2748101" y="1248859"/>
            <a:chExt cx="2218629" cy="519857"/>
          </a:xfrm>
        </p:grpSpPr>
        <p:sp>
          <p:nvSpPr>
            <p:cNvPr id="71" name="Freeform 83"/>
            <p:cNvSpPr/>
            <p:nvPr/>
          </p:nvSpPr>
          <p:spPr bwMode="auto">
            <a:xfrm>
              <a:off x="2748101"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1" name="Group 10">
            <a:extLst>
              <a:ext uri="{FF2B5EF4-FFF2-40B4-BE49-F238E27FC236}">
                <a16:creationId xmlns:a16="http://schemas.microsoft.com/office/drawing/2014/main" id="{4295A720-7BF4-4961-B4B6-5CAB6F0A4852}"/>
              </a:ext>
            </a:extLst>
          </p:cNvPr>
          <p:cNvGrpSpPr/>
          <p:nvPr/>
        </p:nvGrpSpPr>
        <p:grpSpPr>
          <a:xfrm>
            <a:off x="584669" y="1295761"/>
            <a:ext cx="6642535" cy="5006291"/>
            <a:chOff x="584669" y="1295761"/>
            <a:chExt cx="6642535" cy="5006291"/>
          </a:xfrm>
        </p:grpSpPr>
        <p:sp>
          <p:nvSpPr>
            <p:cNvPr id="51" name="Rectangle 50"/>
            <p:cNvSpPr/>
            <p:nvPr/>
          </p:nvSpPr>
          <p:spPr bwMode="auto">
            <a:xfrm>
              <a:off x="5008575"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7" name="Oval Callout 6"/>
            <p:cNvSpPr/>
            <p:nvPr/>
          </p:nvSpPr>
          <p:spPr bwMode="auto">
            <a:xfrm>
              <a:off x="5800725" y="1915078"/>
              <a:ext cx="1220769" cy="761180"/>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defTabSz="895709">
                <a:lnSpc>
                  <a:spcPct val="90000"/>
                </a:lnSpc>
              </a:pPr>
              <a:r>
                <a:rPr lang="en-US" sz="1100" b="1" kern="0" dirty="0">
                  <a:gradFill>
                    <a:gsLst>
                      <a:gs pos="84000">
                        <a:srgbClr val="3F3F3F"/>
                      </a:gs>
                      <a:gs pos="43000">
                        <a:srgbClr val="3F3F3F"/>
                      </a:gs>
                    </a:gsLst>
                    <a:lin ang="10800000" scaled="0"/>
                  </a:gradFill>
                  <a:latin typeface="Segoe UI"/>
                  <a:cs typeface="Segoe UI" pitchFamily="34" charset="0"/>
                </a:rPr>
                <a:t>Play today’s customer call recording</a:t>
              </a:r>
            </a:p>
          </p:txBody>
        </p:sp>
        <p:sp>
          <p:nvSpPr>
            <p:cNvPr id="54" name="Pentagon 53"/>
            <p:cNvSpPr/>
            <p:nvPr/>
          </p:nvSpPr>
          <p:spPr bwMode="auto">
            <a:xfrm rot="5400000">
              <a:off x="59292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R="0" lvl="0" indent="0" defTabSz="895709" fontAlgn="base">
                <a:lnSpc>
                  <a:spcPct val="90000"/>
                </a:lnSpc>
                <a:spcBef>
                  <a:spcPct val="0"/>
                </a:spcBef>
                <a:spcAft>
                  <a:spcPct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Language Understanding</a:t>
              </a:r>
            </a:p>
          </p:txBody>
        </p:sp>
        <p:grpSp>
          <p:nvGrpSpPr>
            <p:cNvPr id="48" name="Group 47"/>
            <p:cNvGrpSpPr/>
            <p:nvPr/>
          </p:nvGrpSpPr>
          <p:grpSpPr>
            <a:xfrm>
              <a:off x="5338207" y="4700870"/>
              <a:ext cx="1655902" cy="926405"/>
              <a:chOff x="3964499" y="3921129"/>
              <a:chExt cx="1242103" cy="694902"/>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641336" y="-618134"/>
                  <a:ext cx="446735" cy="385116"/>
                </a:xfrm>
                <a:prstGeom prst="triangle">
                  <a:avLst/>
                </a:prstGeom>
                <a:noFill/>
                <a:ln w="19050" cap="rnd">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sp>
            <p:nvSpPr>
              <p:cNvPr id="21" name="TextBox 20"/>
              <p:cNvSpPr txBox="1"/>
              <p:nvPr/>
            </p:nvSpPr>
            <p:spPr>
              <a:xfrm>
                <a:off x="4297966" y="4291110"/>
                <a:ext cx="585580" cy="114278"/>
              </a:xfrm>
              <a:prstGeom prst="rect">
                <a:avLst/>
              </a:prstGeom>
              <a:noFill/>
              <a:ln>
                <a:noFill/>
              </a:ln>
            </p:spPr>
            <p:txBody>
              <a:bodyPr wrap="none" lIns="0" tIns="0" rIns="0" bIns="0" rtlCol="0">
                <a:sp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dirty="0">
                    <a:ln>
                      <a:noFill/>
                    </a:ln>
                    <a:gradFill>
                      <a:gsLst>
                        <a:gs pos="70732">
                          <a:schemeClr val="tx1"/>
                        </a:gs>
                        <a:gs pos="50000">
                          <a:schemeClr val="tx1"/>
                        </a:gs>
                      </a:gsLst>
                      <a:lin ang="5400000" scaled="1"/>
                    </a:gradFill>
                    <a:effectLst/>
                    <a:uLnTx/>
                    <a:uFillTx/>
                    <a:latin typeface="Segoe UI"/>
                    <a:ea typeface="+mn-ea"/>
                    <a:cs typeface="Segoe UI" panose="020B0502040204020203" pitchFamily="34" charset="0"/>
                  </a:rPr>
                  <a:t>Now Playing</a:t>
                </a:r>
              </a:p>
            </p:txBody>
          </p:sp>
          <p:sp>
            <p:nvSpPr>
              <p:cNvPr id="62" name="TextBox 61"/>
              <p:cNvSpPr txBox="1"/>
              <p:nvPr/>
            </p:nvSpPr>
            <p:spPr>
              <a:xfrm>
                <a:off x="3964499" y="4501753"/>
                <a:ext cx="1242103" cy="114278"/>
              </a:xfrm>
              <a:prstGeom prst="rect">
                <a:avLst/>
              </a:prstGeom>
              <a:noFill/>
              <a:ln>
                <a:noFill/>
              </a:ln>
            </p:spPr>
            <p:txBody>
              <a:bodyPr wrap="none" lIns="0" tIns="0" rIns="0" bIns="0" rtlCol="0">
                <a:sp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70732">
                          <a:schemeClr val="tx1"/>
                        </a:gs>
                        <a:gs pos="50000">
                          <a:schemeClr val="tx1"/>
                        </a:gs>
                      </a:gsLst>
                      <a:lin ang="5400000" scaled="1"/>
                    </a:gradFill>
                    <a:effectLst/>
                    <a:uLnTx/>
                    <a:uFillTx/>
                    <a:latin typeface="Segoe UI"/>
                    <a:ea typeface="+mn-ea"/>
                    <a:cs typeface="Segoe UI" panose="020B0502040204020203" pitchFamily="34" charset="0"/>
                  </a:rPr>
                  <a:t>11/29/2016 Customer Call </a:t>
                </a:r>
              </a:p>
            </p:txBody>
          </p:sp>
        </p:grpSp>
        <p:sp>
          <p:nvSpPr>
            <p:cNvPr id="114" name="Pentagon 53"/>
            <p:cNvSpPr/>
            <p:nvPr/>
          </p:nvSpPr>
          <p:spPr bwMode="auto">
            <a:xfrm>
              <a:off x="5157665" y="3167185"/>
              <a:ext cx="1919410" cy="1523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895709" fontAlgn="base">
                <a:lnSpc>
                  <a:spcPct val="90000"/>
                </a:lnSpc>
                <a:spcBef>
                  <a:spcPct val="0"/>
                </a:spcBef>
                <a:spcAft>
                  <a:spcPct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Natural Language Processing</a:t>
              </a:r>
            </a:p>
          </p:txBody>
        </p:sp>
        <p:sp>
          <p:nvSpPr>
            <p:cNvPr id="115" name="TextBox 7"/>
            <p:cNvSpPr txBox="1"/>
            <p:nvPr/>
          </p:nvSpPr>
          <p:spPr>
            <a:xfrm>
              <a:off x="5125341" y="3774845"/>
              <a:ext cx="2022731" cy="826615"/>
            </a:xfrm>
            <a:prstGeom prst="rect">
              <a:avLst/>
            </a:prstGeom>
            <a:noFill/>
            <a:ln w="25400">
              <a:solidFill>
                <a:srgbClr val="6E6E73">
                  <a:lumMod val="20000"/>
                  <a:lumOff val="80000"/>
                </a:srgbClr>
              </a:solidFill>
            </a:ln>
          </p:spPr>
          <p:txBody>
            <a:bodyPr wrap="square" lIns="175711" tIns="140569" rIns="175711" bIns="140569" rtlCol="0">
              <a:spAutoFit/>
            </a:bodyPr>
            <a:lstStyle/>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rPr>
                <a:t>Intent: </a:t>
              </a:r>
              <a:r>
                <a:rPr kumimoji="0" lang="en-US" sz="1175" b="0" i="0" u="none" strike="noStrike" kern="0" cap="none" spc="0" normalizeH="0" baseline="0" noProof="0" err="1">
                  <a:ln>
                    <a:noFill/>
                  </a:ln>
                  <a:solidFill>
                    <a:sysClr val="windowText" lastClr="000000"/>
                  </a:solidFill>
                  <a:effectLst/>
                  <a:uLnTx/>
                  <a:uFillTx/>
                  <a:latin typeface="Consolas" panose="020B0609020204030204" pitchFamily="49" charset="0"/>
                  <a:ea typeface="+mn-ea"/>
                  <a:cs typeface="Consolas" panose="020B0609020204030204" pitchFamily="49" charset="0"/>
                </a:rPr>
                <a:t>PlayCall</a:t>
              </a:r>
              <a:endParaRPr kumimoji="0" lang="en-US" sz="1175"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endParaRPr>
            </a:p>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1" i="0" u="none" strike="noStrike" kern="0" cap="none" spc="0" normalizeH="0" baseline="0" noProof="0">
                  <a:ln>
                    <a:noFill/>
                  </a:ln>
                  <a:gradFill>
                    <a:gsLst>
                      <a:gs pos="83582">
                        <a:srgbClr val="0078D7"/>
                      </a:gs>
                      <a:gs pos="62000">
                        <a:srgbClr val="0078D7"/>
                      </a:gs>
                    </a:gsLst>
                    <a:lin ang="5400000" scaled="0"/>
                  </a:gradFill>
                  <a:effectLst/>
                  <a:uLnTx/>
                  <a:uFillTx/>
                  <a:latin typeface="Consolas" panose="020B0609020204030204" pitchFamily="49" charset="0"/>
                  <a:ea typeface="+mn-ea"/>
                  <a:cs typeface="Consolas" panose="020B0609020204030204" pitchFamily="49" charset="0"/>
                </a:rPr>
                <a:t>Content: Customer#</a:t>
              </a:r>
            </a:p>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1" i="0" u="none" strike="noStrike" kern="0" cap="none" spc="0" normalizeH="0" baseline="0" noProof="0" err="1">
                  <a:ln>
                    <a:noFill/>
                  </a:ln>
                  <a:gradFill>
                    <a:gsLst>
                      <a:gs pos="6716">
                        <a:srgbClr val="D83B01"/>
                      </a:gs>
                      <a:gs pos="47000">
                        <a:srgbClr val="D83B01"/>
                      </a:gs>
                    </a:gsLst>
                    <a:lin ang="5400000" scaled="0"/>
                  </a:gradFill>
                  <a:effectLst/>
                  <a:uLnTx/>
                  <a:uFillTx/>
                  <a:latin typeface="Consolas" panose="020B0609020204030204" pitchFamily="49" charset="0"/>
                  <a:ea typeface="+mn-ea"/>
                  <a:cs typeface="Consolas" panose="020B0609020204030204" pitchFamily="49" charset="0"/>
                </a:rPr>
                <a:t>DateTime.date</a:t>
              </a:r>
              <a:r>
                <a:rPr kumimoji="0" lang="en-US" sz="1175" b="1" i="0" u="none" strike="noStrike" kern="0" cap="none" spc="0" normalizeH="0" baseline="0" noProof="0">
                  <a:ln>
                    <a:noFill/>
                  </a:ln>
                  <a:gradFill>
                    <a:gsLst>
                      <a:gs pos="6716">
                        <a:srgbClr val="D83B01"/>
                      </a:gs>
                      <a:gs pos="47000">
                        <a:srgbClr val="D83B01"/>
                      </a:gs>
                    </a:gsLst>
                    <a:lin ang="5400000" scaled="0"/>
                  </a:gradFill>
                  <a:effectLst/>
                  <a:uLnTx/>
                  <a:uFillTx/>
                  <a:latin typeface="Consolas" panose="020B0609020204030204" pitchFamily="49" charset="0"/>
                  <a:ea typeface="+mn-ea"/>
                  <a:cs typeface="Consolas" panose="020B0609020204030204" pitchFamily="49" charset="0"/>
                </a:rPr>
                <a:t>: today</a:t>
              </a:r>
            </a:p>
          </p:txBody>
        </p:sp>
        <p:sp>
          <p:nvSpPr>
            <p:cNvPr id="84" name="Pentagon 53">
              <a:extLst>
                <a:ext uri="{FF2B5EF4-FFF2-40B4-BE49-F238E27FC236}">
                  <a16:creationId xmlns:a16="http://schemas.microsoft.com/office/drawing/2014/main" id="{446EE46E-68C1-462D-A535-AD78B1D983CD}"/>
                </a:ext>
              </a:extLst>
            </p:cNvPr>
            <p:cNvSpPr/>
            <p:nvPr/>
          </p:nvSpPr>
          <p:spPr bwMode="auto">
            <a:xfrm>
              <a:off x="2859820" y="3167185"/>
              <a:ext cx="1919410" cy="1523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895709" fontAlgn="base">
                <a:lnSpc>
                  <a:spcPct val="90000"/>
                </a:lnSpc>
                <a:spcBef>
                  <a:spcPct val="0"/>
                </a:spcBef>
                <a:spcAft>
                  <a:spcPct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Speech to text</a:t>
              </a:r>
            </a:p>
          </p:txBody>
        </p:sp>
        <p:sp>
          <p:nvSpPr>
            <p:cNvPr id="85" name="Pentagon 53">
              <a:extLst>
                <a:ext uri="{FF2B5EF4-FFF2-40B4-BE49-F238E27FC236}">
                  <a16:creationId xmlns:a16="http://schemas.microsoft.com/office/drawing/2014/main" id="{A0FCFCE5-9B91-4B2A-AD0A-054DA5AA0348}"/>
                </a:ext>
              </a:extLst>
            </p:cNvPr>
            <p:cNvSpPr/>
            <p:nvPr/>
          </p:nvSpPr>
          <p:spPr bwMode="auto">
            <a:xfrm>
              <a:off x="584669" y="3167185"/>
              <a:ext cx="1919410" cy="1523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895709" fontAlgn="base">
                <a:lnSpc>
                  <a:spcPct val="90000"/>
                </a:lnSpc>
                <a:spcBef>
                  <a:spcPct val="0"/>
                </a:spcBef>
                <a:spcAft>
                  <a:spcPct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Intelligent Image insights</a:t>
              </a:r>
            </a:p>
          </p:txBody>
        </p:sp>
      </p:grpSp>
      <p:grpSp>
        <p:nvGrpSpPr>
          <p:cNvPr id="18" name="Group 17">
            <a:extLst>
              <a:ext uri="{FF2B5EF4-FFF2-40B4-BE49-F238E27FC236}">
                <a16:creationId xmlns:a16="http://schemas.microsoft.com/office/drawing/2014/main" id="{FF5C78FA-925A-4A86-A6E7-9B2F5302483B}"/>
              </a:ext>
            </a:extLst>
          </p:cNvPr>
          <p:cNvGrpSpPr/>
          <p:nvPr/>
        </p:nvGrpSpPr>
        <p:grpSpPr>
          <a:xfrm>
            <a:off x="5008575" y="1224846"/>
            <a:ext cx="2218629" cy="567881"/>
            <a:chOff x="5008575" y="1224846"/>
            <a:chExt cx="2218629" cy="567881"/>
          </a:xfrm>
        </p:grpSpPr>
        <p:sp>
          <p:nvSpPr>
            <p:cNvPr id="73" name="Freeform 118"/>
            <p:cNvSpPr/>
            <p:nvPr/>
          </p:nvSpPr>
          <p:spPr bwMode="auto">
            <a:xfrm>
              <a:off x="50085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anguage</a:t>
              </a:r>
            </a:p>
          </p:txBody>
        </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12" name="Group 11">
            <a:extLst>
              <a:ext uri="{FF2B5EF4-FFF2-40B4-BE49-F238E27FC236}">
                <a16:creationId xmlns:a16="http://schemas.microsoft.com/office/drawing/2014/main" id="{6D91D67C-CCFF-470A-9919-5BEC3E6139E0}"/>
              </a:ext>
            </a:extLst>
          </p:cNvPr>
          <p:cNvGrpSpPr/>
          <p:nvPr/>
        </p:nvGrpSpPr>
        <p:grpSpPr>
          <a:xfrm>
            <a:off x="7269046" y="1295761"/>
            <a:ext cx="2218630" cy="5006291"/>
            <a:chOff x="7269046" y="1295761"/>
            <a:chExt cx="2218630" cy="5006291"/>
          </a:xfrm>
        </p:grpSpPr>
        <p:sp>
          <p:nvSpPr>
            <p:cNvPr id="82" name="Rectangle 81"/>
            <p:cNvSpPr/>
            <p:nvPr/>
          </p:nvSpPr>
          <p:spPr bwMode="auto">
            <a:xfrm>
              <a:off x="7269046"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6" name="Oval Callout 6"/>
            <p:cNvSpPr/>
            <p:nvPr/>
          </p:nvSpPr>
          <p:spPr bwMode="auto">
            <a:xfrm>
              <a:off x="8051801" y="1915078"/>
              <a:ext cx="1386366" cy="761180"/>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defTabSz="895709">
                <a:lnSpc>
                  <a:spcPct val="90000"/>
                </a:lnSpc>
              </a:pPr>
              <a:r>
                <a:rPr lang="en-US" sz="1100" b="1" kern="0" dirty="0" err="1">
                  <a:gradFill>
                    <a:gsLst>
                      <a:gs pos="84000">
                        <a:srgbClr val="3F3F3F"/>
                      </a:gs>
                      <a:gs pos="43000">
                        <a:srgbClr val="3F3F3F"/>
                      </a:gs>
                    </a:gsLst>
                    <a:lin ang="10800000" scaled="0"/>
                  </a:gradFill>
                  <a:latin typeface="Segoe UI"/>
                  <a:cs typeface="Segoe UI" pitchFamily="34" charset="0"/>
                </a:rPr>
                <a:t>QnA</a:t>
              </a:r>
              <a:r>
                <a:rPr lang="en-US" sz="1100" b="1" kern="0" dirty="0">
                  <a:gradFill>
                    <a:gsLst>
                      <a:gs pos="84000">
                        <a:srgbClr val="3F3F3F"/>
                      </a:gs>
                      <a:gs pos="43000">
                        <a:srgbClr val="3F3F3F"/>
                      </a:gs>
                    </a:gsLst>
                    <a:lin ang="10800000" scaled="0"/>
                  </a:gradFill>
                  <a:latin typeface="Segoe UI"/>
                  <a:cs typeface="Segoe UI" pitchFamily="34" charset="0"/>
                </a:rPr>
                <a:t> Pair </a:t>
              </a:r>
              <a:br>
                <a:rPr lang="en-US" sz="1100" b="1" kern="0" dirty="0">
                  <a:gradFill>
                    <a:gsLst>
                      <a:gs pos="84000">
                        <a:srgbClr val="3F3F3F"/>
                      </a:gs>
                      <a:gs pos="43000">
                        <a:srgbClr val="3F3F3F"/>
                      </a:gs>
                    </a:gsLst>
                    <a:lin ang="10800000" scaled="0"/>
                  </a:gradFill>
                  <a:latin typeface="Segoe UI"/>
                  <a:cs typeface="Segoe UI" pitchFamily="34" charset="0"/>
                </a:rPr>
              </a:br>
              <a:r>
                <a:rPr lang="en-US" sz="1100" b="1" kern="0" dirty="0">
                  <a:gradFill>
                    <a:gsLst>
                      <a:gs pos="84000">
                        <a:srgbClr val="3F3F3F"/>
                      </a:gs>
                      <a:gs pos="43000">
                        <a:srgbClr val="3F3F3F"/>
                      </a:gs>
                    </a:gsLst>
                    <a:lin ang="10800000" scaled="0"/>
                  </a:gradFill>
                  <a:latin typeface="Segoe UI"/>
                  <a:cs typeface="Segoe UI" pitchFamily="34" charset="0"/>
                </a:rPr>
                <a:t>of this site?</a:t>
              </a:r>
            </a:p>
          </p:txBody>
        </p:sp>
        <p:sp>
          <p:nvSpPr>
            <p:cNvPr id="87" name="Pentagon 86"/>
            <p:cNvSpPr/>
            <p:nvPr/>
          </p:nvSpPr>
          <p:spPr bwMode="auto">
            <a:xfrm rot="5400000">
              <a:off x="818976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R="0" lvl="0" indent="0" defTabSz="895709" fontAlgn="base">
                <a:lnSpc>
                  <a:spcPct val="90000"/>
                </a:lnSpc>
                <a:spcBef>
                  <a:spcPct val="0"/>
                </a:spcBef>
                <a:spcAft>
                  <a:spcPct val="0"/>
                </a:spcAft>
                <a:buClrTx/>
                <a:buSzTx/>
                <a:buFontTx/>
                <a:buNone/>
                <a:tabLst/>
                <a:defRPr/>
              </a:pPr>
              <a:r>
                <a:rPr lang="en-US" sz="1100" b="1" kern="0" dirty="0" err="1">
                  <a:gradFill>
                    <a:gsLst>
                      <a:gs pos="84000">
                        <a:srgbClr val="3F3F3F"/>
                      </a:gs>
                      <a:gs pos="43000">
                        <a:srgbClr val="3F3F3F"/>
                      </a:gs>
                    </a:gsLst>
                    <a:lin ang="10800000" scaled="0"/>
                  </a:gradFill>
                  <a:latin typeface="Segoe UI"/>
                  <a:cs typeface="Segoe UI" pitchFamily="34" charset="0"/>
                </a:rPr>
                <a:t>QnA</a:t>
              </a:r>
              <a:r>
                <a:rPr lang="en-US" sz="1100" b="1" kern="0" dirty="0">
                  <a:gradFill>
                    <a:gsLst>
                      <a:gs pos="84000">
                        <a:srgbClr val="3F3F3F"/>
                      </a:gs>
                      <a:gs pos="43000">
                        <a:srgbClr val="3F3F3F"/>
                      </a:gs>
                    </a:gsLst>
                    <a:lin ang="10800000" scaled="0"/>
                  </a:gradFill>
                  <a:latin typeface="Segoe UI"/>
                  <a:cs typeface="Segoe UI" pitchFamily="34" charset="0"/>
                </a:rPr>
                <a:t> Maker</a:t>
              </a:r>
            </a:p>
          </p:txBody>
        </p:sp>
        <p:sp>
          <p:nvSpPr>
            <p:cNvPr id="89" name="TextBox 7"/>
            <p:cNvSpPr txBox="1"/>
            <p:nvPr/>
          </p:nvSpPr>
          <p:spPr>
            <a:xfrm>
              <a:off x="7363472" y="3178852"/>
              <a:ext cx="1673535" cy="304699"/>
            </a:xfrm>
            <a:prstGeom prst="rect">
              <a:avLst/>
            </a:prstGeom>
            <a:noFill/>
            <a:ln>
              <a:noFill/>
            </a:ln>
          </p:spPr>
          <p:txBody>
            <a:bodyPr wrap="none" lIns="0" tIns="0" rIns="0" bIns="0" rtlCol="0">
              <a:spAutoFit/>
            </a:bodyPr>
            <a:lstStyle/>
            <a:p>
              <a:pPr marL="0" marR="0" lvl="1" indent="0" defTabSz="895709" fontAlgn="auto">
                <a:lnSpc>
                  <a:spcPct val="90000"/>
                </a:lnSpc>
                <a:spcBef>
                  <a:spcPts val="0"/>
                </a:spcBef>
                <a:spcAft>
                  <a:spcPts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Automatic extraction </a:t>
              </a:r>
              <a:br>
                <a:rPr lang="en-US" sz="1100" b="1" kern="0" dirty="0">
                  <a:gradFill>
                    <a:gsLst>
                      <a:gs pos="84000">
                        <a:srgbClr val="3F3F3F"/>
                      </a:gs>
                      <a:gs pos="43000">
                        <a:srgbClr val="3F3F3F"/>
                      </a:gs>
                    </a:gsLst>
                    <a:lin ang="10800000" scaled="0"/>
                  </a:gradFill>
                  <a:latin typeface="Segoe UI"/>
                  <a:cs typeface="Segoe UI" pitchFamily="34" charset="0"/>
                </a:rPr>
              </a:br>
              <a:r>
                <a:rPr lang="en-US" sz="1100" b="1" kern="0" dirty="0">
                  <a:gradFill>
                    <a:gsLst>
                      <a:gs pos="84000">
                        <a:srgbClr val="3F3F3F"/>
                      </a:gs>
                      <a:gs pos="43000">
                        <a:srgbClr val="3F3F3F"/>
                      </a:gs>
                    </a:gsLst>
                    <a:lin ang="10800000" scaled="0"/>
                  </a:gradFill>
                  <a:latin typeface="Segoe UI"/>
                  <a:cs typeface="Segoe UI" pitchFamily="34" charset="0"/>
                </a:rPr>
                <a:t>of questions and answers</a:t>
              </a:r>
            </a:p>
          </p:txBody>
        </p:sp>
      </p:grpSp>
      <p:grpSp>
        <p:nvGrpSpPr>
          <p:cNvPr id="23" name="Group 22">
            <a:extLst>
              <a:ext uri="{FF2B5EF4-FFF2-40B4-BE49-F238E27FC236}">
                <a16:creationId xmlns:a16="http://schemas.microsoft.com/office/drawing/2014/main" id="{BB9DC430-4802-4692-84A8-766FCDCD6B45}"/>
              </a:ext>
            </a:extLst>
          </p:cNvPr>
          <p:cNvGrpSpPr/>
          <p:nvPr/>
        </p:nvGrpSpPr>
        <p:grpSpPr>
          <a:xfrm>
            <a:off x="7269046" y="1273050"/>
            <a:ext cx="2218629" cy="518052"/>
            <a:chOff x="7269046" y="1273050"/>
            <a:chExt cx="2218629" cy="518052"/>
          </a:xfrm>
        </p:grpSpPr>
        <p:sp>
          <p:nvSpPr>
            <p:cNvPr id="77" name="Freeform 117"/>
            <p:cNvSpPr/>
            <p:nvPr/>
          </p:nvSpPr>
          <p:spPr bwMode="auto">
            <a:xfrm>
              <a:off x="7269046"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Knowledge</a:t>
              </a:r>
            </a:p>
          </p:txBody>
        </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14" name="Group 13">
            <a:extLst>
              <a:ext uri="{FF2B5EF4-FFF2-40B4-BE49-F238E27FC236}">
                <a16:creationId xmlns:a16="http://schemas.microsoft.com/office/drawing/2014/main" id="{21F5793B-D1F0-4CC0-9EA1-9AB6E4700FA7}"/>
              </a:ext>
            </a:extLst>
          </p:cNvPr>
          <p:cNvGrpSpPr/>
          <p:nvPr/>
        </p:nvGrpSpPr>
        <p:grpSpPr>
          <a:xfrm>
            <a:off x="9529517" y="1295761"/>
            <a:ext cx="2218629" cy="5006291"/>
            <a:chOff x="9529517" y="1295761"/>
            <a:chExt cx="2218629" cy="5006291"/>
          </a:xfrm>
        </p:grpSpPr>
        <p:sp>
          <p:nvSpPr>
            <p:cNvPr id="60" name="Rectangle 59"/>
            <p:cNvSpPr/>
            <p:nvPr/>
          </p:nvSpPr>
          <p:spPr bwMode="auto">
            <a:xfrm>
              <a:off x="9529517"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4" name="Oval Callout 6"/>
            <p:cNvSpPr/>
            <p:nvPr/>
          </p:nvSpPr>
          <p:spPr bwMode="auto">
            <a:xfrm>
              <a:off x="10335284" y="1915078"/>
              <a:ext cx="1297915" cy="761180"/>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defTabSz="895709">
                <a:lnSpc>
                  <a:spcPct val="90000"/>
                </a:lnSpc>
              </a:pPr>
              <a:r>
                <a:rPr lang="en-US" sz="1100" b="1" kern="0" dirty="0">
                  <a:gradFill>
                    <a:gsLst>
                      <a:gs pos="84000">
                        <a:srgbClr val="3F3F3F"/>
                      </a:gs>
                      <a:gs pos="43000">
                        <a:srgbClr val="3F3F3F"/>
                      </a:gs>
                    </a:gsLst>
                    <a:lin ang="10800000" scaled="0"/>
                  </a:gradFill>
                  <a:latin typeface="Segoe UI"/>
                  <a:cs typeface="Segoe UI" pitchFamily="34" charset="0"/>
                </a:rPr>
                <a:t>Search for ‘fraud prevention’ </a:t>
              </a:r>
            </a:p>
          </p:txBody>
        </p:sp>
        <p:sp>
          <p:nvSpPr>
            <p:cNvPr id="65" name="Pentagon 64"/>
            <p:cNvSpPr/>
            <p:nvPr/>
          </p:nvSpPr>
          <p:spPr bwMode="auto">
            <a:xfrm rot="5400000">
              <a:off x="1045023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R="0" lvl="0" indent="0" defTabSz="895709" fontAlgn="base">
                <a:lnSpc>
                  <a:spcPct val="90000"/>
                </a:lnSpc>
                <a:spcBef>
                  <a:spcPct val="0"/>
                </a:spcBef>
                <a:spcAft>
                  <a:spcPct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Bing News Search</a:t>
              </a:r>
            </a:p>
          </p:txBody>
        </p:sp>
        <p:sp>
          <p:nvSpPr>
            <p:cNvPr id="107" name="TextBox 7"/>
            <p:cNvSpPr txBox="1"/>
            <p:nvPr/>
          </p:nvSpPr>
          <p:spPr>
            <a:xfrm>
              <a:off x="9663679" y="3165269"/>
              <a:ext cx="1461939" cy="152349"/>
            </a:xfrm>
            <a:prstGeom prst="rect">
              <a:avLst/>
            </a:prstGeom>
            <a:noFill/>
            <a:ln>
              <a:noFill/>
            </a:ln>
          </p:spPr>
          <p:txBody>
            <a:bodyPr wrap="none" lIns="0" tIns="0" rIns="0" bIns="0" rtlCol="0">
              <a:spAutoFit/>
            </a:bodyPr>
            <a:lstStyle/>
            <a:p>
              <a:pPr marL="0" marR="0" lvl="1" indent="0" defTabSz="895709" fontAlgn="auto">
                <a:lnSpc>
                  <a:spcPct val="90000"/>
                </a:lnSpc>
                <a:spcBef>
                  <a:spcPts val="0"/>
                </a:spcBef>
                <a:spcAft>
                  <a:spcPts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Intelligent web search</a:t>
              </a:r>
            </a:p>
          </p:txBody>
        </p:sp>
        <p:sp>
          <p:nvSpPr>
            <p:cNvPr id="117" name="Rectangle 116"/>
            <p:cNvSpPr/>
            <p:nvPr/>
          </p:nvSpPr>
          <p:spPr bwMode="auto">
            <a:xfrm>
              <a:off x="9999370" y="3458042"/>
              <a:ext cx="1697727" cy="556824"/>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dirty="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Information Communications  Media Market News</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dirty="0">
                  <a:ln>
                    <a:noFill/>
                  </a:ln>
                  <a:gradFill>
                    <a:gsLst>
                      <a:gs pos="28455">
                        <a:schemeClr val="tx1"/>
                      </a:gs>
                      <a:gs pos="69000">
                        <a:schemeClr val="tx1"/>
                      </a:gs>
                    </a:gsLst>
                    <a:lin ang="10800000" scaled="0"/>
                  </a:gradFill>
                  <a:effectLst/>
                  <a:uLnTx/>
                  <a:uFillTx/>
                  <a:latin typeface="Segoe UI"/>
                  <a:ea typeface="+mn-ea"/>
                  <a:cs typeface="Segoe UI Semibold" panose="020B0702040204020203" pitchFamily="34" charset="0"/>
                </a:rPr>
                <a:t>It also investigates the top three expected </a:t>
              </a:r>
              <a:r>
                <a:rPr kumimoji="0" lang="en-US" sz="600" b="1" i="0" u="none" strike="noStrike" kern="1200" cap="none" spc="0" normalizeH="0" baseline="0" noProof="0" dirty="0">
                  <a:ln>
                    <a:noFill/>
                  </a:ln>
                  <a:gradFill>
                    <a:gsLst>
                      <a:gs pos="28455">
                        <a:schemeClr val="tx1"/>
                      </a:gs>
                      <a:gs pos="69000">
                        <a:schemeClr val="tx1"/>
                      </a:gs>
                    </a:gsLst>
                    <a:lin ang="10800000" scaled="0"/>
                  </a:gradFill>
                  <a:effectLst/>
                  <a:uLnTx/>
                  <a:uFillTx/>
                  <a:latin typeface="Segoe UI"/>
                  <a:ea typeface="+mn-ea"/>
                  <a:cs typeface="Segoe UI Semibold" panose="020B0702040204020203" pitchFamily="34" charset="0"/>
                </a:rPr>
                <a:t>Fraud</a:t>
              </a:r>
              <a:r>
                <a:rPr kumimoji="0" lang="en-US" sz="600" b="0" i="0" u="none" strike="noStrike" kern="1200" cap="none" spc="0" normalizeH="0" baseline="0" noProof="0" dirty="0">
                  <a:ln>
                    <a:noFill/>
                  </a:ln>
                  <a:gradFill>
                    <a:gsLst>
                      <a:gs pos="28455">
                        <a:schemeClr val="tx1"/>
                      </a:gs>
                      <a:gs pos="69000">
                        <a:schemeClr val="tx1"/>
                      </a:gs>
                    </a:gsLst>
                    <a:lin ang="10800000" scaled="0"/>
                  </a:gradFill>
                  <a:effectLst/>
                  <a:uLnTx/>
                  <a:uFillTx/>
                  <a:latin typeface="Segoe UI"/>
                  <a:ea typeface="+mn-ea"/>
                  <a:cs typeface="Segoe UI Semibold" panose="020B0702040204020203" pitchFamily="34" charset="0"/>
                </a:rPr>
                <a:t> Detection and </a:t>
              </a:r>
              <a:r>
                <a:rPr kumimoji="0" lang="en-US" sz="600" b="1" i="0" u="none" strike="noStrike" kern="1200" cap="none" spc="0" normalizeH="0" baseline="0" noProof="0" dirty="0">
                  <a:ln>
                    <a:noFill/>
                  </a:ln>
                  <a:gradFill>
                    <a:gsLst>
                      <a:gs pos="28455">
                        <a:schemeClr val="tx1"/>
                      </a:gs>
                      <a:gs pos="69000">
                        <a:schemeClr val="tx1"/>
                      </a:gs>
                    </a:gsLst>
                    <a:lin ang="10800000" scaled="0"/>
                  </a:gradFill>
                  <a:effectLst/>
                  <a:uLnTx/>
                  <a:uFillTx/>
                  <a:latin typeface="Segoe UI"/>
                  <a:ea typeface="+mn-ea"/>
                  <a:cs typeface="Segoe UI Semibold" panose="020B0702040204020203" pitchFamily="34" charset="0"/>
                </a:rPr>
                <a:t>Prevention</a:t>
              </a:r>
              <a:r>
                <a:rPr kumimoji="0" lang="en-US" sz="600" b="0" i="0" u="none" strike="noStrike" kern="1200" cap="none" spc="0" normalizeH="0" baseline="0" noProof="0" dirty="0">
                  <a:ln>
                    <a:noFill/>
                  </a:ln>
                  <a:gradFill>
                    <a:gsLst>
                      <a:gs pos="28455">
                        <a:schemeClr val="tx1"/>
                      </a:gs>
                      <a:gs pos="69000">
                        <a:schemeClr val="tx1"/>
                      </a:gs>
                    </a:gsLst>
                    <a:lin ang="10800000" scaled="0"/>
                  </a:gradFill>
                  <a:effectLst/>
                  <a:uLnTx/>
                  <a:uFillTx/>
                  <a:latin typeface="Segoe UI"/>
                  <a:ea typeface="+mn-ea"/>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3458042"/>
              <a:ext cx="422013" cy="557882"/>
            </a:xfrm>
            <a:prstGeom prst="rect">
              <a:avLst/>
            </a:prstGeom>
            <a:ln w="6350">
              <a:solidFill>
                <a:schemeClr val="bg2">
                  <a:lumMod val="85000"/>
                </a:schemeClr>
              </a:solidFill>
            </a:ln>
          </p:spPr>
        </p:pic>
        <p:sp>
          <p:nvSpPr>
            <p:cNvPr id="120" name="Rectangle 119"/>
            <p:cNvSpPr/>
            <p:nvPr/>
          </p:nvSpPr>
          <p:spPr bwMode="auto">
            <a:xfrm>
              <a:off x="9999370" y="4130613"/>
              <a:ext cx="1697727" cy="567927"/>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dirty="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The Big Question: In-House or Outsourced Fraud Protection?</a:t>
              </a:r>
            </a:p>
            <a:p>
              <a:pPr defTabSz="1218996">
                <a:lnSpc>
                  <a:spcPct val="90000"/>
                </a:lnSpc>
                <a:spcAft>
                  <a:spcPts val="267"/>
                </a:spcAft>
                <a:defRPr/>
              </a:pPr>
              <a:r>
                <a:rPr lang="en-US" sz="600" dirty="0">
                  <a:gradFill>
                    <a:gsLst>
                      <a:gs pos="28455">
                        <a:schemeClr val="tx1"/>
                      </a:gs>
                      <a:gs pos="69000">
                        <a:schemeClr val="tx1"/>
                      </a:gs>
                    </a:gsLst>
                    <a:lin ang="10800000" scaled="0"/>
                  </a:gradFill>
                  <a:latin typeface="Segoe UI"/>
                  <a:cs typeface="Segoe UI Semibold" panose="020B0702040204020203" pitchFamily="34" charset="0"/>
                </a:rPr>
                <a:t>First, let’s point out that there is not one absolute answer—there are “pros” and “cons” </a:t>
              </a:r>
              <a:br>
                <a:rPr lang="en-US" sz="600" dirty="0">
                  <a:gradFill>
                    <a:gsLst>
                      <a:gs pos="28455">
                        <a:schemeClr val="tx1"/>
                      </a:gs>
                      <a:gs pos="69000">
                        <a:schemeClr val="tx1"/>
                      </a:gs>
                    </a:gsLst>
                    <a:lin ang="10800000" scaled="0"/>
                  </a:gradFill>
                  <a:latin typeface="Segoe UI"/>
                  <a:cs typeface="Segoe UI Semibold" panose="020B0702040204020203" pitchFamily="34" charset="0"/>
                </a:rPr>
              </a:br>
              <a:r>
                <a:rPr lang="en-US" sz="600" dirty="0">
                  <a:gradFill>
                    <a:gsLst>
                      <a:gs pos="28455">
                        <a:schemeClr val="tx1"/>
                      </a:gs>
                      <a:gs pos="69000">
                        <a:schemeClr val="tx1"/>
                      </a:gs>
                    </a:gsLst>
                    <a:lin ang="10800000" scaled="0"/>
                  </a:gradFill>
                  <a:latin typeface="Segoe UI"/>
                  <a:cs typeface="Segoe UI Semibold" panose="020B0702040204020203" pitchFamily="34" charset="0"/>
                </a:rPr>
                <a:t>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130614"/>
              <a:ext cx="417433" cy="569960"/>
            </a:xfrm>
            <a:prstGeom prst="rect">
              <a:avLst/>
            </a:prstGeom>
            <a:ln w="6350">
              <a:solidFill>
                <a:schemeClr val="bg2">
                  <a:lumMod val="85000"/>
                </a:schemeClr>
              </a:solidFill>
            </a:ln>
          </p:spPr>
        </p:pic>
        <p:sp>
          <p:nvSpPr>
            <p:cNvPr id="122" name="Rectangle 121"/>
            <p:cNvSpPr/>
            <p:nvPr/>
          </p:nvSpPr>
          <p:spPr bwMode="auto">
            <a:xfrm>
              <a:off x="9998417" y="4803186"/>
              <a:ext cx="1698680" cy="569960"/>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dirty="0">
                  <a:ln>
                    <a:noFill/>
                  </a:ln>
                  <a:gradFill>
                    <a:gsLst>
                      <a:gs pos="4000">
                        <a:srgbClr val="0078D7"/>
                      </a:gs>
                      <a:gs pos="15000">
                        <a:srgbClr val="0078D7"/>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dirty="0">
                  <a:ln>
                    <a:noFill/>
                  </a:ln>
                  <a:gradFill>
                    <a:gsLst>
                      <a:gs pos="28455">
                        <a:schemeClr val="tx1"/>
                      </a:gs>
                      <a:gs pos="69000">
                        <a:schemeClr val="tx1"/>
                      </a:gs>
                    </a:gsLst>
                    <a:lin ang="10800000" scaled="0"/>
                  </a:gradFill>
                  <a:effectLst/>
                  <a:uLnTx/>
                  <a:uFillTx/>
                  <a:latin typeface="Segoe UI"/>
                  <a:ea typeface="+mn-ea"/>
                  <a:cs typeface="Segoe UI Semibold" panose="020B0702040204020203" pitchFamily="34" charset="0"/>
                </a:rPr>
                <a:t>Michael heads fraud prevention tool. Online </a:t>
              </a:r>
              <a:br>
                <a:rPr kumimoji="0" lang="en-US" sz="600" b="0" i="0" u="none" strike="noStrike" kern="1200" cap="none" spc="0" normalizeH="0" baseline="0" noProof="0" dirty="0">
                  <a:ln>
                    <a:noFill/>
                  </a:ln>
                  <a:gradFill>
                    <a:gsLst>
                      <a:gs pos="28455">
                        <a:schemeClr val="tx1"/>
                      </a:gs>
                      <a:gs pos="69000">
                        <a:schemeClr val="tx1"/>
                      </a:gs>
                    </a:gsLst>
                    <a:lin ang="10800000" scaled="0"/>
                  </a:gradFill>
                  <a:effectLst/>
                  <a:uLnTx/>
                  <a:uFillTx/>
                  <a:latin typeface="Segoe UI"/>
                  <a:ea typeface="+mn-ea"/>
                  <a:cs typeface="Segoe UI Semibold" panose="020B0702040204020203" pitchFamily="34" charset="0"/>
                </a:rPr>
              </a:br>
              <a:r>
                <a:rPr kumimoji="0" lang="en-US" sz="600" b="0" i="0" u="none" strike="noStrike" kern="1200" cap="none" spc="0" normalizeH="0" baseline="0" noProof="0" dirty="0">
                  <a:ln>
                    <a:noFill/>
                  </a:ln>
                  <a:gradFill>
                    <a:gsLst>
                      <a:gs pos="28455">
                        <a:schemeClr val="tx1"/>
                      </a:gs>
                      <a:gs pos="69000">
                        <a:schemeClr val="tx1"/>
                      </a:gs>
                    </a:gsLst>
                    <a:lin ang="10800000" scaled="0"/>
                  </a:gradFill>
                  <a:effectLst/>
                  <a:uLnTx/>
                  <a:uFillTx/>
                  <a:latin typeface="Segoe UI"/>
                  <a:ea typeface="+mn-ea"/>
                  <a:cs typeface="Segoe UI Semibold" panose="020B0702040204020203" pitchFamily="34" charset="0"/>
                </a:rPr>
                <a:t>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4803186"/>
              <a:ext cx="417433" cy="569960"/>
            </a:xfrm>
            <a:prstGeom prst="rect">
              <a:avLst/>
            </a:prstGeom>
            <a:ln w="6350">
              <a:solidFill>
                <a:schemeClr val="bg2">
                  <a:lumMod val="85000"/>
                </a:schemeClr>
              </a:solidFill>
            </a:ln>
          </p:spPr>
        </p:pic>
      </p:grpSp>
      <p:grpSp>
        <p:nvGrpSpPr>
          <p:cNvPr id="24" name="Group 23">
            <a:extLst>
              <a:ext uri="{FF2B5EF4-FFF2-40B4-BE49-F238E27FC236}">
                <a16:creationId xmlns:a16="http://schemas.microsoft.com/office/drawing/2014/main" id="{C23E73CA-2CBC-462F-85F7-9E07A0AA800A}"/>
              </a:ext>
            </a:extLst>
          </p:cNvPr>
          <p:cNvGrpSpPr/>
          <p:nvPr/>
        </p:nvGrpSpPr>
        <p:grpSpPr>
          <a:xfrm>
            <a:off x="9529517" y="1187622"/>
            <a:ext cx="2300095" cy="649534"/>
            <a:chOff x="9529517" y="1187622"/>
            <a:chExt cx="2300095" cy="649534"/>
          </a:xfrm>
        </p:grpSpPr>
        <p:sp>
          <p:nvSpPr>
            <p:cNvPr id="83" name="Freeform 97"/>
            <p:cNvSpPr/>
            <p:nvPr/>
          </p:nvSpPr>
          <p:spPr bwMode="auto">
            <a:xfrm>
              <a:off x="9529517"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arch</a:t>
              </a:r>
            </a:p>
          </p:txBody>
        </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
        <p:nvSpPr>
          <p:cNvPr id="101" name="speech_2">
            <a:extLst>
              <a:ext uri="{FF2B5EF4-FFF2-40B4-BE49-F238E27FC236}">
                <a16:creationId xmlns:a16="http://schemas.microsoft.com/office/drawing/2014/main" id="{70D6585B-3D52-4BED-8DF7-B8F5DE69A752}"/>
              </a:ext>
            </a:extLst>
          </p:cNvPr>
          <p:cNvSpPr>
            <a:spLocks noChangeAspect="1" noEditPoints="1"/>
          </p:cNvSpPr>
          <p:nvPr/>
        </p:nvSpPr>
        <p:spPr bwMode="auto">
          <a:xfrm>
            <a:off x="633265" y="20372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24" name="speech_2">
            <a:extLst>
              <a:ext uri="{FF2B5EF4-FFF2-40B4-BE49-F238E27FC236}">
                <a16:creationId xmlns:a16="http://schemas.microsoft.com/office/drawing/2014/main" id="{76FDF5A3-A12A-4FFC-A80E-F5214C66A98E}"/>
              </a:ext>
            </a:extLst>
          </p:cNvPr>
          <p:cNvSpPr>
            <a:spLocks noChangeAspect="1" noEditPoints="1"/>
          </p:cNvSpPr>
          <p:nvPr/>
        </p:nvSpPr>
        <p:spPr bwMode="auto">
          <a:xfrm>
            <a:off x="5187576" y="2032447"/>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27" name="speech_2">
            <a:extLst>
              <a:ext uri="{FF2B5EF4-FFF2-40B4-BE49-F238E27FC236}">
                <a16:creationId xmlns:a16="http://schemas.microsoft.com/office/drawing/2014/main" id="{77A4BCF8-3147-4FEE-8785-0D7F10F2B695}"/>
              </a:ext>
            </a:extLst>
          </p:cNvPr>
          <p:cNvSpPr>
            <a:spLocks noChangeAspect="1" noEditPoints="1"/>
          </p:cNvSpPr>
          <p:nvPr/>
        </p:nvSpPr>
        <p:spPr bwMode="auto">
          <a:xfrm>
            <a:off x="7437744" y="20372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30" name="speech_2">
            <a:extLst>
              <a:ext uri="{FF2B5EF4-FFF2-40B4-BE49-F238E27FC236}">
                <a16:creationId xmlns:a16="http://schemas.microsoft.com/office/drawing/2014/main" id="{E0392146-F6D4-4EAE-A4C2-32E296161402}"/>
              </a:ext>
            </a:extLst>
          </p:cNvPr>
          <p:cNvSpPr>
            <a:spLocks noChangeAspect="1" noEditPoints="1"/>
          </p:cNvSpPr>
          <p:nvPr/>
        </p:nvSpPr>
        <p:spPr bwMode="auto">
          <a:xfrm>
            <a:off x="9703787" y="20372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25" name="Group 24">
            <a:extLst>
              <a:ext uri="{FF2B5EF4-FFF2-40B4-BE49-F238E27FC236}">
                <a16:creationId xmlns:a16="http://schemas.microsoft.com/office/drawing/2014/main" id="{08196353-E5AF-4679-9F0A-B541719F9F51}"/>
              </a:ext>
            </a:extLst>
          </p:cNvPr>
          <p:cNvGrpSpPr/>
          <p:nvPr/>
        </p:nvGrpSpPr>
        <p:grpSpPr>
          <a:xfrm>
            <a:off x="2886608" y="2024510"/>
            <a:ext cx="932917" cy="2094200"/>
            <a:chOff x="2886608" y="2024510"/>
            <a:chExt cx="932917" cy="2094200"/>
          </a:xfrm>
        </p:grpSpPr>
        <p:sp>
          <p:nvSpPr>
            <p:cNvPr id="111" name="speech_2">
              <a:extLst>
                <a:ext uri="{FF2B5EF4-FFF2-40B4-BE49-F238E27FC236}">
                  <a16:creationId xmlns:a16="http://schemas.microsoft.com/office/drawing/2014/main" id="{938B8581-647F-4794-98A4-EA73D5FDA24A}"/>
                </a:ext>
              </a:extLst>
            </p:cNvPr>
            <p:cNvSpPr>
              <a:spLocks noChangeAspect="1" noEditPoints="1"/>
            </p:cNvSpPr>
            <p:nvPr/>
          </p:nvSpPr>
          <p:spPr bwMode="auto">
            <a:xfrm>
              <a:off x="2886608" y="20245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35" name="speech_2">
              <a:extLst>
                <a:ext uri="{FF2B5EF4-FFF2-40B4-BE49-F238E27FC236}">
                  <a16:creationId xmlns:a16="http://schemas.microsoft.com/office/drawing/2014/main" id="{D3698E87-DCC2-45A8-9FD0-867702C3E5E8}"/>
                </a:ext>
              </a:extLst>
            </p:cNvPr>
            <p:cNvSpPr>
              <a:spLocks noChangeAspect="1" noEditPoints="1"/>
            </p:cNvSpPr>
            <p:nvPr/>
          </p:nvSpPr>
          <p:spPr bwMode="auto">
            <a:xfrm>
              <a:off x="2886608" y="36794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43" name="speech_2">
              <a:extLst>
                <a:ext uri="{FF2B5EF4-FFF2-40B4-BE49-F238E27FC236}">
                  <a16:creationId xmlns:a16="http://schemas.microsoft.com/office/drawing/2014/main" id="{1169166E-C8E3-4469-B5B3-E89F861884B0}"/>
                </a:ext>
              </a:extLst>
            </p:cNvPr>
            <p:cNvSpPr>
              <a:spLocks noChangeAspect="1" noEditPoints="1"/>
            </p:cNvSpPr>
            <p:nvPr/>
          </p:nvSpPr>
          <p:spPr bwMode="auto">
            <a:xfrm>
              <a:off x="3029483" y="37937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solidFill>
              <a:srgbClr val="F9F9F9"/>
            </a:solidFill>
            <a:ln w="19050" cap="sq">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44" name="arrow_15">
              <a:extLst>
                <a:ext uri="{FF2B5EF4-FFF2-40B4-BE49-F238E27FC236}">
                  <a16:creationId xmlns:a16="http://schemas.microsoft.com/office/drawing/2014/main" id="{415DFA54-1986-471D-9B2C-0BA603CF9569}"/>
                </a:ext>
              </a:extLst>
            </p:cNvPr>
            <p:cNvSpPr>
              <a:spLocks noChangeAspect="1" noEditPoints="1"/>
            </p:cNvSpPr>
            <p:nvPr/>
          </p:nvSpPr>
          <p:spPr bwMode="auto">
            <a:xfrm>
              <a:off x="3548999" y="3790783"/>
              <a:ext cx="270526" cy="269296"/>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pic>
        <p:nvPicPr>
          <p:cNvPr id="2" name="Picture 1">
            <a:extLst>
              <a:ext uri="{FF2B5EF4-FFF2-40B4-BE49-F238E27FC236}">
                <a16:creationId xmlns:a16="http://schemas.microsoft.com/office/drawing/2014/main" id="{3B1E3BA0-90C0-4D61-BC1B-84F513C05990}"/>
              </a:ext>
            </a:extLst>
          </p:cNvPr>
          <p:cNvPicPr>
            <a:picLocks noChangeAspect="1"/>
          </p:cNvPicPr>
          <p:nvPr/>
        </p:nvPicPr>
        <p:blipFill rotWithShape="1">
          <a:blip r:embed="rId14"/>
          <a:srcRect t="1642" b="1269"/>
          <a:stretch/>
        </p:blipFill>
        <p:spPr>
          <a:xfrm>
            <a:off x="7411542" y="3676467"/>
            <a:ext cx="1875922" cy="1828984"/>
          </a:xfrm>
          <a:prstGeom prst="rect">
            <a:avLst/>
          </a:prstGeom>
        </p:spPr>
      </p:pic>
    </p:spTree>
    <p:extLst>
      <p:ext uri="{BB962C8B-B14F-4D97-AF65-F5344CB8AC3E}">
        <p14:creationId xmlns:p14="http://schemas.microsoft.com/office/powerpoint/2010/main" val="393447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42" presetClass="path" presetSubtype="0" decel="100000" fill="hold" nodeType="withEffect">
                                  <p:stCondLst>
                                    <p:cond delay="0"/>
                                  </p:stCondLst>
                                  <p:childTnLst>
                                    <p:animMotion origin="layout" path="M 4.79167E-6 -0.02986 L -1.45833E-6 -3.33333E-6 " pathEditMode="relative" rAng="0" ptsTypes="AA">
                                      <p:cBhvr>
                                        <p:cTn id="9" dur="500" fill="hold"/>
                                        <p:tgtEl>
                                          <p:spTgt spid="15"/>
                                        </p:tgtEl>
                                        <p:attrNameLst>
                                          <p:attrName>ppt_x</p:attrName>
                                          <p:attrName>ppt_y</p:attrName>
                                        </p:attrNameLst>
                                      </p:cBhvr>
                                      <p:rCtr x="-117" y="1667"/>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64" presetClass="path" presetSubtype="0" decel="100000" fill="hold" nodeType="withEffect">
                                  <p:stCondLst>
                                    <p:cond delay="0"/>
                                  </p:stCondLst>
                                  <p:childTnLst>
                                    <p:animMotion origin="layout" path="M -3.75E-6 0.0419 L -3.75E-6 -2.96296E-6 " pathEditMode="relative" rAng="0" ptsTypes="AA">
                                      <p:cBhvr>
                                        <p:cTn id="14" dur="500" fill="hold"/>
                                        <p:tgtEl>
                                          <p:spTgt spid="8"/>
                                        </p:tgtEl>
                                        <p:attrNameLst>
                                          <p:attrName>ppt_x</p:attrName>
                                          <p:attrName>ppt_y</p:attrName>
                                        </p:attrNameLst>
                                      </p:cBhvr>
                                      <p:rCtr x="0" y="-2106"/>
                                    </p:animMotion>
                                  </p:childTnLst>
                                </p:cTn>
                              </p:par>
                              <p:par>
                                <p:cTn id="15" presetID="10" presetClass="entr" presetSubtype="0" fill="hold" nodeType="with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par>
                                <p:cTn id="18" presetID="64" presetClass="path" presetSubtype="0" decel="100000" fill="hold" nodeType="withEffect">
                                  <p:stCondLst>
                                    <p:cond delay="0"/>
                                  </p:stCondLst>
                                  <p:childTnLst>
                                    <p:animMotion origin="layout" path="M -2.5E-6 0.0419 L -2.5E-6 -2.96296E-6 " pathEditMode="relative" rAng="0" ptsTypes="AA">
                                      <p:cBhvr>
                                        <p:cTn id="19" dur="500" fill="hold"/>
                                        <p:tgtEl>
                                          <p:spTgt spid="75"/>
                                        </p:tgtEl>
                                        <p:attrNameLst>
                                          <p:attrName>ppt_x</p:attrName>
                                          <p:attrName>ppt_y</p:attrName>
                                        </p:attrNameLst>
                                      </p:cBhvr>
                                      <p:rCtr x="0" y="-210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64" presetClass="path" presetSubtype="0" decel="100000" fill="hold" nodeType="withEffect">
                                  <p:stCondLst>
                                    <p:cond delay="150"/>
                                  </p:stCondLst>
                                  <p:childTnLst>
                                    <p:animMotion origin="layout" path="M -3.75E-6 0.0419 L -3.75E-6 -2.96296E-6 " pathEditMode="relative" rAng="0" ptsTypes="AA">
                                      <p:cBhvr>
                                        <p:cTn id="24" dur="500" fill="hold"/>
                                        <p:tgtEl>
                                          <p:spTgt spid="10"/>
                                        </p:tgtEl>
                                        <p:attrNameLst>
                                          <p:attrName>ppt_x</p:attrName>
                                          <p:attrName>ppt_y</p:attrName>
                                        </p:attrNameLst>
                                      </p:cBhvr>
                                      <p:rCtr x="0" y="-2106"/>
                                    </p:animMotion>
                                  </p:childTnLst>
                                </p:cTn>
                              </p:par>
                              <p:par>
                                <p:cTn id="25" presetID="10" presetClass="entr" presetSubtype="0" fill="hold" nodeType="withEffect">
                                  <p:stCondLst>
                                    <p:cond delay="15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42" presetClass="path" presetSubtype="0" decel="100000" fill="hold" nodeType="withEffect">
                                  <p:stCondLst>
                                    <p:cond delay="150"/>
                                  </p:stCondLst>
                                  <p:childTnLst>
                                    <p:animMotion origin="layout" path="M 4.79167E-6 -0.02986 L -1.45833E-6 -3.33333E-6 " pathEditMode="relative" rAng="0" ptsTypes="AA">
                                      <p:cBhvr>
                                        <p:cTn id="29" dur="500" fill="hold"/>
                                        <p:tgtEl>
                                          <p:spTgt spid="16"/>
                                        </p:tgtEl>
                                        <p:attrNameLst>
                                          <p:attrName>ppt_x</p:attrName>
                                          <p:attrName>ppt_y</p:attrName>
                                        </p:attrNameLst>
                                      </p:cBhvr>
                                      <p:rCtr x="-117" y="1667"/>
                                    </p:animMotion>
                                  </p:childTnLst>
                                </p:cTn>
                              </p:par>
                              <p:par>
                                <p:cTn id="30" presetID="10" presetClass="entr" presetSubtype="0" fill="hold" nodeType="withEffect">
                                  <p:stCondLst>
                                    <p:cond delay="30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64" presetClass="path" presetSubtype="0" decel="100000" fill="hold" nodeType="withEffect">
                                  <p:stCondLst>
                                    <p:cond delay="300"/>
                                  </p:stCondLst>
                                  <p:childTnLst>
                                    <p:animMotion origin="layout" path="M -2.5E-6 0.04189 L -2.5E-6 4.81481E-6 " pathEditMode="relative" rAng="0" ptsTypes="AA">
                                      <p:cBhvr>
                                        <p:cTn id="34" dur="500" fill="hold"/>
                                        <p:tgtEl>
                                          <p:spTgt spid="11"/>
                                        </p:tgtEl>
                                        <p:attrNameLst>
                                          <p:attrName>ppt_x</p:attrName>
                                          <p:attrName>ppt_y</p:attrName>
                                        </p:attrNameLst>
                                      </p:cBhvr>
                                      <p:rCtr x="0" y="-2106"/>
                                    </p:animMotion>
                                  </p:childTnLst>
                                </p:cTn>
                              </p:par>
                              <p:par>
                                <p:cTn id="35" presetID="10" presetClass="entr" presetSubtype="0" fill="hold" nodeType="withEffect">
                                  <p:stCondLst>
                                    <p:cond delay="3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42" presetClass="path" presetSubtype="0" decel="100000" fill="hold" nodeType="withEffect">
                                  <p:stCondLst>
                                    <p:cond delay="300"/>
                                  </p:stCondLst>
                                  <p:childTnLst>
                                    <p:animMotion origin="layout" path="M 4.79167E-6 -0.02986 L -1.45833E-6 -3.33333E-6 " pathEditMode="relative" rAng="0" ptsTypes="AA">
                                      <p:cBhvr>
                                        <p:cTn id="39" dur="500" fill="hold"/>
                                        <p:tgtEl>
                                          <p:spTgt spid="18"/>
                                        </p:tgtEl>
                                        <p:attrNameLst>
                                          <p:attrName>ppt_x</p:attrName>
                                          <p:attrName>ppt_y</p:attrName>
                                        </p:attrNameLst>
                                      </p:cBhvr>
                                      <p:rCtr x="-117" y="1667"/>
                                    </p:animMotion>
                                  </p:childTnLst>
                                </p:cTn>
                              </p:par>
                              <p:par>
                                <p:cTn id="40" presetID="10" presetClass="entr" presetSubtype="0" fill="hold" nodeType="withEffect">
                                  <p:stCondLst>
                                    <p:cond delay="45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64" presetClass="path" presetSubtype="0" decel="100000" fill="hold" nodeType="withEffect">
                                  <p:stCondLst>
                                    <p:cond delay="450"/>
                                  </p:stCondLst>
                                  <p:childTnLst>
                                    <p:animMotion origin="layout" path="M -3.75E-6 0.0419 L -3.75E-6 -2.96296E-6 " pathEditMode="relative" rAng="0" ptsTypes="AA">
                                      <p:cBhvr>
                                        <p:cTn id="44" dur="500" fill="hold"/>
                                        <p:tgtEl>
                                          <p:spTgt spid="12"/>
                                        </p:tgtEl>
                                        <p:attrNameLst>
                                          <p:attrName>ppt_x</p:attrName>
                                          <p:attrName>ppt_y</p:attrName>
                                        </p:attrNameLst>
                                      </p:cBhvr>
                                      <p:rCtr x="0" y="-2106"/>
                                    </p:animMotion>
                                  </p:childTnLst>
                                </p:cTn>
                              </p:par>
                              <p:par>
                                <p:cTn id="45" presetID="10" presetClass="entr" presetSubtype="0" fill="hold" nodeType="withEffect">
                                  <p:stCondLst>
                                    <p:cond delay="450"/>
                                  </p:stCondLst>
                                  <p:childTnLst>
                                    <p:set>
                                      <p:cBhvr>
                                        <p:cTn id="46" dur="1" fill="hold">
                                          <p:stCondLst>
                                            <p:cond delay="0"/>
                                          </p:stCondLst>
                                        </p:cTn>
                                        <p:tgtEl>
                                          <p:spTgt spid="2"/>
                                        </p:tgtEl>
                                        <p:attrNameLst>
                                          <p:attrName>style.visibility</p:attrName>
                                        </p:attrNameLst>
                                      </p:cBhvr>
                                      <p:to>
                                        <p:strVal val="visible"/>
                                      </p:to>
                                    </p:set>
                                    <p:animEffect transition="in" filter="fade">
                                      <p:cBhvr>
                                        <p:cTn id="47" dur="500"/>
                                        <p:tgtEl>
                                          <p:spTgt spid="2"/>
                                        </p:tgtEl>
                                      </p:cBhvr>
                                    </p:animEffect>
                                  </p:childTnLst>
                                </p:cTn>
                              </p:par>
                              <p:par>
                                <p:cTn id="48" presetID="64" presetClass="path" presetSubtype="0" decel="100000" fill="hold" nodeType="withEffect">
                                  <p:stCondLst>
                                    <p:cond delay="450"/>
                                  </p:stCondLst>
                                  <p:childTnLst>
                                    <p:animMotion origin="layout" path="M -3.75E-6 0.0419 L -3.75E-6 -2.96296E-6 " pathEditMode="relative" rAng="0" ptsTypes="AA">
                                      <p:cBhvr>
                                        <p:cTn id="49" dur="500" fill="hold"/>
                                        <p:tgtEl>
                                          <p:spTgt spid="2"/>
                                        </p:tgtEl>
                                        <p:attrNameLst>
                                          <p:attrName>ppt_x</p:attrName>
                                          <p:attrName>ppt_y</p:attrName>
                                        </p:attrNameLst>
                                      </p:cBhvr>
                                      <p:rCtr x="0" y="-2106"/>
                                    </p:animMotion>
                                  </p:childTnLst>
                                </p:cTn>
                              </p:par>
                              <p:par>
                                <p:cTn id="50" presetID="10" presetClass="entr" presetSubtype="0" fill="hold" nodeType="withEffect">
                                  <p:stCondLst>
                                    <p:cond delay="450"/>
                                  </p:stCondLst>
                                  <p:childTnLst>
                                    <p:set>
                                      <p:cBhvr>
                                        <p:cTn id="51" dur="1" fill="hold">
                                          <p:stCondLst>
                                            <p:cond delay="0"/>
                                          </p:stCondLst>
                                        </p:cTn>
                                        <p:tgtEl>
                                          <p:spTgt spid="23"/>
                                        </p:tgtEl>
                                        <p:attrNameLst>
                                          <p:attrName>style.visibility</p:attrName>
                                        </p:attrNameLst>
                                      </p:cBhvr>
                                      <p:to>
                                        <p:strVal val="visible"/>
                                      </p:to>
                                    </p:set>
                                    <p:animEffect transition="in" filter="fade">
                                      <p:cBhvr>
                                        <p:cTn id="52" dur="500"/>
                                        <p:tgtEl>
                                          <p:spTgt spid="23"/>
                                        </p:tgtEl>
                                      </p:cBhvr>
                                    </p:animEffect>
                                  </p:childTnLst>
                                </p:cTn>
                              </p:par>
                              <p:par>
                                <p:cTn id="53" presetID="42" presetClass="path" presetSubtype="0" decel="100000" fill="hold" nodeType="withEffect">
                                  <p:stCondLst>
                                    <p:cond delay="450"/>
                                  </p:stCondLst>
                                  <p:childTnLst>
                                    <p:animMotion origin="layout" path="M 4.79167E-6 -0.02986 L -1.45833E-6 -3.33333E-6 " pathEditMode="relative" rAng="0" ptsTypes="AA">
                                      <p:cBhvr>
                                        <p:cTn id="54" dur="500" fill="hold"/>
                                        <p:tgtEl>
                                          <p:spTgt spid="23"/>
                                        </p:tgtEl>
                                        <p:attrNameLst>
                                          <p:attrName>ppt_x</p:attrName>
                                          <p:attrName>ppt_y</p:attrName>
                                        </p:attrNameLst>
                                      </p:cBhvr>
                                      <p:rCtr x="-117" y="1667"/>
                                    </p:animMotion>
                                  </p:childTnLst>
                                </p:cTn>
                              </p:par>
                              <p:par>
                                <p:cTn id="55" presetID="10" presetClass="entr" presetSubtype="0" fill="hold" nodeType="withEffect">
                                  <p:stCondLst>
                                    <p:cond delay="60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par>
                                <p:cTn id="58" presetID="64" presetClass="path" presetSubtype="0" decel="100000" fill="hold" nodeType="withEffect">
                                  <p:stCondLst>
                                    <p:cond delay="600"/>
                                  </p:stCondLst>
                                  <p:childTnLst>
                                    <p:animMotion origin="layout" path="M 3.95833E-6 0.04189 L 3.95833E-6 4.81481E-6 " pathEditMode="relative" rAng="0" ptsTypes="AA">
                                      <p:cBhvr>
                                        <p:cTn id="59" dur="500" fill="hold"/>
                                        <p:tgtEl>
                                          <p:spTgt spid="14"/>
                                        </p:tgtEl>
                                        <p:attrNameLst>
                                          <p:attrName>ppt_x</p:attrName>
                                          <p:attrName>ppt_y</p:attrName>
                                        </p:attrNameLst>
                                      </p:cBhvr>
                                      <p:rCtr x="0" y="-2106"/>
                                    </p:animMotion>
                                  </p:childTnLst>
                                </p:cTn>
                              </p:par>
                              <p:par>
                                <p:cTn id="60" presetID="10" presetClass="entr" presetSubtype="0" fill="hold" nodeType="withEffect">
                                  <p:stCondLst>
                                    <p:cond delay="600"/>
                                  </p:stCondLst>
                                  <p:childTnLst>
                                    <p:set>
                                      <p:cBhvr>
                                        <p:cTn id="61" dur="1" fill="hold">
                                          <p:stCondLst>
                                            <p:cond delay="0"/>
                                          </p:stCondLst>
                                        </p:cTn>
                                        <p:tgtEl>
                                          <p:spTgt spid="24"/>
                                        </p:tgtEl>
                                        <p:attrNameLst>
                                          <p:attrName>style.visibility</p:attrName>
                                        </p:attrNameLst>
                                      </p:cBhvr>
                                      <p:to>
                                        <p:strVal val="visible"/>
                                      </p:to>
                                    </p:set>
                                    <p:animEffect transition="in" filter="fade">
                                      <p:cBhvr>
                                        <p:cTn id="62" dur="500"/>
                                        <p:tgtEl>
                                          <p:spTgt spid="24"/>
                                        </p:tgtEl>
                                      </p:cBhvr>
                                    </p:animEffect>
                                  </p:childTnLst>
                                </p:cTn>
                              </p:par>
                              <p:par>
                                <p:cTn id="63" presetID="42" presetClass="path" presetSubtype="0" decel="100000" fill="hold" nodeType="withEffect">
                                  <p:stCondLst>
                                    <p:cond delay="600"/>
                                  </p:stCondLst>
                                  <p:childTnLst>
                                    <p:animMotion origin="layout" path="M 4.79167E-6 -0.02986 L -1.45833E-6 -3.33333E-6 " pathEditMode="relative" rAng="0" ptsTypes="AA">
                                      <p:cBhvr>
                                        <p:cTn id="64" dur="500" fill="hold"/>
                                        <p:tgtEl>
                                          <p:spTgt spid="24"/>
                                        </p:tgtEl>
                                        <p:attrNameLst>
                                          <p:attrName>ppt_x</p:attrName>
                                          <p:attrName>ppt_y</p:attrName>
                                        </p:attrNameLst>
                                      </p:cBhvr>
                                      <p:rCtr x="-117" y="1667"/>
                                    </p:animMotion>
                                  </p:childTnLst>
                                </p:cTn>
                              </p:par>
                              <p:par>
                                <p:cTn id="65" presetID="10" presetClass="entr" presetSubtype="0" fill="hold" grpId="0" nodeType="withEffect">
                                  <p:stCondLst>
                                    <p:cond delay="0"/>
                                  </p:stCondLst>
                                  <p:childTnLst>
                                    <p:set>
                                      <p:cBhvr>
                                        <p:cTn id="66" dur="1" fill="hold">
                                          <p:stCondLst>
                                            <p:cond delay="0"/>
                                          </p:stCondLst>
                                        </p:cTn>
                                        <p:tgtEl>
                                          <p:spTgt spid="101"/>
                                        </p:tgtEl>
                                        <p:attrNameLst>
                                          <p:attrName>style.visibility</p:attrName>
                                        </p:attrNameLst>
                                      </p:cBhvr>
                                      <p:to>
                                        <p:strVal val="visible"/>
                                      </p:to>
                                    </p:set>
                                    <p:animEffect transition="in" filter="fade">
                                      <p:cBhvr>
                                        <p:cTn id="67" dur="500"/>
                                        <p:tgtEl>
                                          <p:spTgt spid="101"/>
                                        </p:tgtEl>
                                      </p:cBhvr>
                                    </p:animEffect>
                                  </p:childTnLst>
                                </p:cTn>
                              </p:par>
                              <p:par>
                                <p:cTn id="68" presetID="64" presetClass="path" presetSubtype="0" decel="100000" fill="hold" grpId="1" nodeType="withEffect">
                                  <p:stCondLst>
                                    <p:cond delay="0"/>
                                  </p:stCondLst>
                                  <p:childTnLst>
                                    <p:animMotion origin="layout" path="M -3.75E-6 0.0419 L -3.75E-6 -2.96296E-6 " pathEditMode="relative" rAng="0" ptsTypes="AA">
                                      <p:cBhvr>
                                        <p:cTn id="69" dur="500" fill="hold"/>
                                        <p:tgtEl>
                                          <p:spTgt spid="101"/>
                                        </p:tgtEl>
                                        <p:attrNameLst>
                                          <p:attrName>ppt_x</p:attrName>
                                          <p:attrName>ppt_y</p:attrName>
                                        </p:attrNameLst>
                                      </p:cBhvr>
                                      <p:rCtr x="0" y="-2106"/>
                                    </p:animMotion>
                                  </p:childTnLst>
                                </p:cTn>
                              </p:par>
                              <p:par>
                                <p:cTn id="70" presetID="10" presetClass="entr" presetSubtype="0" fill="hold" nodeType="withEffect">
                                  <p:stCondLst>
                                    <p:cond delay="150"/>
                                  </p:stCondLst>
                                  <p:childTnLst>
                                    <p:set>
                                      <p:cBhvr>
                                        <p:cTn id="71" dur="1" fill="hold">
                                          <p:stCondLst>
                                            <p:cond delay="0"/>
                                          </p:stCondLst>
                                        </p:cTn>
                                        <p:tgtEl>
                                          <p:spTgt spid="25"/>
                                        </p:tgtEl>
                                        <p:attrNameLst>
                                          <p:attrName>style.visibility</p:attrName>
                                        </p:attrNameLst>
                                      </p:cBhvr>
                                      <p:to>
                                        <p:strVal val="visible"/>
                                      </p:to>
                                    </p:set>
                                    <p:animEffect transition="in" filter="fade">
                                      <p:cBhvr>
                                        <p:cTn id="72" dur="500"/>
                                        <p:tgtEl>
                                          <p:spTgt spid="25"/>
                                        </p:tgtEl>
                                      </p:cBhvr>
                                    </p:animEffect>
                                  </p:childTnLst>
                                </p:cTn>
                              </p:par>
                              <p:par>
                                <p:cTn id="73" presetID="64" presetClass="path" presetSubtype="0" decel="100000" fill="hold" nodeType="withEffect">
                                  <p:stCondLst>
                                    <p:cond delay="150"/>
                                  </p:stCondLst>
                                  <p:childTnLst>
                                    <p:animMotion origin="layout" path="M -3.75E-6 0.0419 L -3.75E-6 -2.96296E-6 " pathEditMode="relative" rAng="0" ptsTypes="AA">
                                      <p:cBhvr>
                                        <p:cTn id="74" dur="500" fill="hold"/>
                                        <p:tgtEl>
                                          <p:spTgt spid="25"/>
                                        </p:tgtEl>
                                        <p:attrNameLst>
                                          <p:attrName>ppt_x</p:attrName>
                                          <p:attrName>ppt_y</p:attrName>
                                        </p:attrNameLst>
                                      </p:cBhvr>
                                      <p:rCtr x="0" y="-2106"/>
                                    </p:animMotion>
                                  </p:childTnLst>
                                </p:cTn>
                              </p:par>
                              <p:par>
                                <p:cTn id="75" presetID="10" presetClass="entr" presetSubtype="0" fill="hold" grpId="0" nodeType="withEffect">
                                  <p:stCondLst>
                                    <p:cond delay="300"/>
                                  </p:stCondLst>
                                  <p:childTnLst>
                                    <p:set>
                                      <p:cBhvr>
                                        <p:cTn id="76" dur="1" fill="hold">
                                          <p:stCondLst>
                                            <p:cond delay="0"/>
                                          </p:stCondLst>
                                        </p:cTn>
                                        <p:tgtEl>
                                          <p:spTgt spid="124"/>
                                        </p:tgtEl>
                                        <p:attrNameLst>
                                          <p:attrName>style.visibility</p:attrName>
                                        </p:attrNameLst>
                                      </p:cBhvr>
                                      <p:to>
                                        <p:strVal val="visible"/>
                                      </p:to>
                                    </p:set>
                                    <p:animEffect transition="in" filter="fade">
                                      <p:cBhvr>
                                        <p:cTn id="77" dur="500"/>
                                        <p:tgtEl>
                                          <p:spTgt spid="124"/>
                                        </p:tgtEl>
                                      </p:cBhvr>
                                    </p:animEffect>
                                  </p:childTnLst>
                                </p:cTn>
                              </p:par>
                              <p:par>
                                <p:cTn id="78" presetID="64" presetClass="path" presetSubtype="0" decel="100000" fill="hold" grpId="1" nodeType="withEffect">
                                  <p:stCondLst>
                                    <p:cond delay="300"/>
                                  </p:stCondLst>
                                  <p:childTnLst>
                                    <p:animMotion origin="layout" path="M -2.91667E-6 0.04189 L -2.91667E-6 4.81481E-6 " pathEditMode="relative" rAng="0" ptsTypes="AA">
                                      <p:cBhvr>
                                        <p:cTn id="79" dur="500" fill="hold"/>
                                        <p:tgtEl>
                                          <p:spTgt spid="124"/>
                                        </p:tgtEl>
                                        <p:attrNameLst>
                                          <p:attrName>ppt_x</p:attrName>
                                          <p:attrName>ppt_y</p:attrName>
                                        </p:attrNameLst>
                                      </p:cBhvr>
                                      <p:rCtr x="0" y="-2106"/>
                                    </p:animMotion>
                                  </p:childTnLst>
                                </p:cTn>
                              </p:par>
                              <p:par>
                                <p:cTn id="80" presetID="10" presetClass="entr" presetSubtype="0" fill="hold" grpId="0" nodeType="withEffect">
                                  <p:stCondLst>
                                    <p:cond delay="450"/>
                                  </p:stCondLst>
                                  <p:childTnLst>
                                    <p:set>
                                      <p:cBhvr>
                                        <p:cTn id="81" dur="1" fill="hold">
                                          <p:stCondLst>
                                            <p:cond delay="0"/>
                                          </p:stCondLst>
                                        </p:cTn>
                                        <p:tgtEl>
                                          <p:spTgt spid="127"/>
                                        </p:tgtEl>
                                        <p:attrNameLst>
                                          <p:attrName>style.visibility</p:attrName>
                                        </p:attrNameLst>
                                      </p:cBhvr>
                                      <p:to>
                                        <p:strVal val="visible"/>
                                      </p:to>
                                    </p:set>
                                    <p:animEffect transition="in" filter="fade">
                                      <p:cBhvr>
                                        <p:cTn id="82" dur="500"/>
                                        <p:tgtEl>
                                          <p:spTgt spid="127"/>
                                        </p:tgtEl>
                                      </p:cBhvr>
                                    </p:animEffect>
                                  </p:childTnLst>
                                </p:cTn>
                              </p:par>
                              <p:par>
                                <p:cTn id="83" presetID="64" presetClass="path" presetSubtype="0" decel="100000" fill="hold" grpId="1" nodeType="withEffect">
                                  <p:stCondLst>
                                    <p:cond delay="450"/>
                                  </p:stCondLst>
                                  <p:childTnLst>
                                    <p:animMotion origin="layout" path="M -3.75E-6 0.0419 L -3.75E-6 -2.96296E-6 " pathEditMode="relative" rAng="0" ptsTypes="AA">
                                      <p:cBhvr>
                                        <p:cTn id="84" dur="500" fill="hold"/>
                                        <p:tgtEl>
                                          <p:spTgt spid="127"/>
                                        </p:tgtEl>
                                        <p:attrNameLst>
                                          <p:attrName>ppt_x</p:attrName>
                                          <p:attrName>ppt_y</p:attrName>
                                        </p:attrNameLst>
                                      </p:cBhvr>
                                      <p:rCtr x="0" y="-2106"/>
                                    </p:animMotion>
                                  </p:childTnLst>
                                </p:cTn>
                              </p:par>
                              <p:par>
                                <p:cTn id="85" presetID="10" presetClass="entr" presetSubtype="0" fill="hold" grpId="0" nodeType="withEffect">
                                  <p:stCondLst>
                                    <p:cond delay="600"/>
                                  </p:stCondLst>
                                  <p:childTnLst>
                                    <p:set>
                                      <p:cBhvr>
                                        <p:cTn id="86" dur="1" fill="hold">
                                          <p:stCondLst>
                                            <p:cond delay="0"/>
                                          </p:stCondLst>
                                        </p:cTn>
                                        <p:tgtEl>
                                          <p:spTgt spid="130"/>
                                        </p:tgtEl>
                                        <p:attrNameLst>
                                          <p:attrName>style.visibility</p:attrName>
                                        </p:attrNameLst>
                                      </p:cBhvr>
                                      <p:to>
                                        <p:strVal val="visible"/>
                                      </p:to>
                                    </p:set>
                                    <p:animEffect transition="in" filter="fade">
                                      <p:cBhvr>
                                        <p:cTn id="87" dur="500"/>
                                        <p:tgtEl>
                                          <p:spTgt spid="130"/>
                                        </p:tgtEl>
                                      </p:cBhvr>
                                    </p:animEffect>
                                  </p:childTnLst>
                                </p:cTn>
                              </p:par>
                              <p:par>
                                <p:cTn id="88" presetID="64" presetClass="path" presetSubtype="0" decel="100000" fill="hold" grpId="1" nodeType="withEffect">
                                  <p:stCondLst>
                                    <p:cond delay="600"/>
                                  </p:stCondLst>
                                  <p:childTnLst>
                                    <p:animMotion origin="layout" path="M -3.75E-6 0.0419 L -3.75E-6 -2.96296E-6 " pathEditMode="relative" rAng="0" ptsTypes="AA">
                                      <p:cBhvr>
                                        <p:cTn id="89" dur="500" fill="hold"/>
                                        <p:tgtEl>
                                          <p:spTgt spid="130"/>
                                        </p:tgtEl>
                                        <p:attrNameLst>
                                          <p:attrName>ppt_x</p:attrName>
                                          <p:attrName>ppt_y</p:attrName>
                                        </p:attrNameLst>
                                      </p:cBhvr>
                                      <p:rCtr x="0" y="-21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01" grpId="1" animBg="1"/>
      <p:bldP spid="124" grpId="0" animBg="1"/>
      <p:bldP spid="124" grpId="1" animBg="1"/>
      <p:bldP spid="127" grpId="0" animBg="1"/>
      <p:bldP spid="127" grpId="1" animBg="1"/>
      <p:bldP spid="130" grpId="0" animBg="1"/>
      <p:bldP spid="130"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Cognitive Services Available in Power BI</a:t>
            </a:r>
            <a:br>
              <a:rPr lang="en-US" dirty="0"/>
            </a:br>
            <a:r>
              <a:rPr lang="en-US" sz="2400" dirty="0"/>
              <a:t>These services are available to Power BI dataflows in a “turn key” fashion.</a:t>
            </a:r>
            <a:br>
              <a:rPr lang="en-US" sz="2400" dirty="0"/>
            </a:br>
            <a:endParaRPr lang="en-US" sz="2400" dirty="0"/>
          </a:p>
        </p:txBody>
      </p:sp>
      <p:grpSp>
        <p:nvGrpSpPr>
          <p:cNvPr id="26" name="Group 25">
            <a:extLst>
              <a:ext uri="{FF2B5EF4-FFF2-40B4-BE49-F238E27FC236}">
                <a16:creationId xmlns:a16="http://schemas.microsoft.com/office/drawing/2014/main" id="{40AAB68D-06DF-43C6-904A-C4854800A4B4}"/>
              </a:ext>
            </a:extLst>
          </p:cNvPr>
          <p:cNvGrpSpPr/>
          <p:nvPr/>
        </p:nvGrpSpPr>
        <p:grpSpPr>
          <a:xfrm>
            <a:off x="270944" y="1681532"/>
            <a:ext cx="2312496" cy="4731968"/>
            <a:chOff x="270944" y="1681532"/>
            <a:chExt cx="2312496" cy="4731968"/>
          </a:xfrm>
        </p:grpSpPr>
        <p:grpSp>
          <p:nvGrpSpPr>
            <p:cNvPr id="9" name="Group 8">
              <a:extLst>
                <a:ext uri="{FF2B5EF4-FFF2-40B4-BE49-F238E27FC236}">
                  <a16:creationId xmlns:a16="http://schemas.microsoft.com/office/drawing/2014/main" id="{9442733C-C85B-49CD-9E36-0DD3D131DF47}"/>
                </a:ext>
              </a:extLst>
            </p:cNvPr>
            <p:cNvGrpSpPr/>
            <p:nvPr/>
          </p:nvGrpSpPr>
          <p:grpSpPr>
            <a:xfrm>
              <a:off x="467072" y="1681532"/>
              <a:ext cx="1920240" cy="4731968"/>
              <a:chOff x="467072" y="1681532"/>
              <a:chExt cx="1920240" cy="4731968"/>
            </a:xfrm>
          </p:grpSpPr>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Object, scene, and </a:t>
                </a:r>
                <a:b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ctivity detec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ace recogni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ident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elebrity and landmark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motion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and handwriting recognition (OCR)</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Video metadata, audio,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keyframe extrac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nt moderation </a:t>
                </a:r>
              </a:p>
              <a:p>
                <a:pPr algn="ctr" defTabSz="951004" fontAlgn="base">
                  <a:lnSpc>
                    <a:spcPct val="90000"/>
                  </a:lnSpc>
                  <a:spcBef>
                    <a:spcPct val="0"/>
                  </a:spcBef>
                  <a:spcAft>
                    <a:spcPts val="800"/>
                  </a:spcAft>
                  <a:defRPr/>
                </a:pPr>
                <a:r>
                  <a:rPr lang="en-US" sz="1100" kern="0" dirty="0">
                    <a:gradFill>
                      <a:gsLst>
                        <a:gs pos="1250">
                          <a:srgbClr val="1A1A1A"/>
                        </a:gs>
                        <a:gs pos="100000">
                          <a:srgbClr val="1A1A1A"/>
                        </a:gs>
                      </a:gsLst>
                      <a:lin ang="0" scaled="0"/>
                    </a:gradFill>
                    <a:cs typeface="Segoe UI Semibold" panose="020B0702040204020203" pitchFamily="34" charset="0"/>
                  </a:rPr>
                  <a:t>Custom image recognition</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grpSp>
      <p:grpSp>
        <p:nvGrpSpPr>
          <p:cNvPr id="28" name="Group 27">
            <a:extLst>
              <a:ext uri="{FF2B5EF4-FFF2-40B4-BE49-F238E27FC236}">
                <a16:creationId xmlns:a16="http://schemas.microsoft.com/office/drawing/2014/main" id="{F841D726-86F0-4C72-8EBC-6F05FEA94A26}"/>
              </a:ext>
            </a:extLst>
          </p:cNvPr>
          <p:cNvGrpSpPr/>
          <p:nvPr/>
        </p:nvGrpSpPr>
        <p:grpSpPr>
          <a:xfrm>
            <a:off x="4948635" y="1681532"/>
            <a:ext cx="2331135" cy="4724582"/>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Language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sentiment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ey phras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tity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ll checking</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text content moderation, PII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xtual language understanding</a:t>
                </a: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627341" y="1681532"/>
            <a:ext cx="2348759" cy="4731968"/>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web, news, imag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ideo search resul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rends for video, new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 identification, classification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dentification of similar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s and produc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class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acquis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or named entiti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arch query autosugges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custom search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09282" y="1681532"/>
            <a:ext cx="2322323" cy="4724582"/>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transcrip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to-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Synthesis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to-speech)</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Real-time speech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aker identifica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er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Speech models for transcription and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voice</a:t>
                </a: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682357"/>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287988" y="1681532"/>
            <a:ext cx="2339947" cy="4731968"/>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Q&amp;A extraction from unstructured 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base crea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rom collections of Q&amp;A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mantic matching for knowledge bas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682357"/>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grpSp>
      <p:sp>
        <p:nvSpPr>
          <p:cNvPr id="12" name="Rectangle 11">
            <a:extLst>
              <a:ext uri="{FF2B5EF4-FFF2-40B4-BE49-F238E27FC236}">
                <a16:creationId xmlns:a16="http://schemas.microsoft.com/office/drawing/2014/main" id="{77E6E7FD-D206-4D20-915C-3543A00BD0D9}"/>
              </a:ext>
            </a:extLst>
          </p:cNvPr>
          <p:cNvSpPr/>
          <p:nvPr/>
        </p:nvSpPr>
        <p:spPr bwMode="auto">
          <a:xfrm>
            <a:off x="609600" y="2943383"/>
            <a:ext cx="1581584" cy="56643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dirty="0" err="1">
              <a:ln w="22225">
                <a:solidFill>
                  <a:schemeClr val="accent2"/>
                </a:solidFill>
                <a:prstDash val="solid"/>
              </a:ln>
              <a:solidFill>
                <a:schemeClr val="accent2">
                  <a:lumMod val="40000"/>
                  <a:lumOff val="60000"/>
                </a:schemeClr>
              </a:solidFill>
              <a:ea typeface="Segoe UI" pitchFamily="34" charset="0"/>
              <a:cs typeface="Segoe UI" pitchFamily="34" charset="0"/>
            </a:endParaRPr>
          </a:p>
        </p:txBody>
      </p:sp>
      <p:sp>
        <p:nvSpPr>
          <p:cNvPr id="43" name="Rectangle 42">
            <a:extLst>
              <a:ext uri="{FF2B5EF4-FFF2-40B4-BE49-F238E27FC236}">
                <a16:creationId xmlns:a16="http://schemas.microsoft.com/office/drawing/2014/main" id="{3AB5A4FD-F892-47C5-BFAD-962AC3F60C37}"/>
              </a:ext>
            </a:extLst>
          </p:cNvPr>
          <p:cNvSpPr/>
          <p:nvPr/>
        </p:nvSpPr>
        <p:spPr bwMode="auto">
          <a:xfrm>
            <a:off x="5180434" y="2957239"/>
            <a:ext cx="1866946" cy="92834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dirty="0" err="1">
              <a:ln w="22225">
                <a:solidFill>
                  <a:schemeClr val="accent2"/>
                </a:solidFill>
                <a:prstDash val="solid"/>
              </a:ln>
              <a:solidFill>
                <a:schemeClr val="accent2">
                  <a:lumMod val="40000"/>
                  <a:lumOff val="60000"/>
                </a:schemeClr>
              </a:solidFill>
              <a:ea typeface="Segoe UI" pitchFamily="34" charset="0"/>
              <a:cs typeface="Segoe UI" pitchFamily="34" charset="0"/>
            </a:endParaRPr>
          </a:p>
        </p:txBody>
      </p:sp>
    </p:spTree>
    <p:extLst>
      <p:ext uri="{BB962C8B-B14F-4D97-AF65-F5344CB8AC3E}">
        <p14:creationId xmlns:p14="http://schemas.microsoft.com/office/powerpoint/2010/main" val="4391893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8"/>
                                        </p:tgtEl>
                                        <p:attrNameLst>
                                          <p:attrName>ppt_x</p:attrName>
                                          <p:attrName>ppt_y</p:attrName>
                                        </p:attrNameLst>
                                      </p:cBhvr>
                                      <p:rCtr x="2331" y="0"/>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63" presetClass="path" presetSubtype="0" decel="100000" fill="hold" nodeType="withEffect">
                                  <p:stCondLst>
                                    <p:cond delay="0"/>
                                  </p:stCondLst>
                                  <p:childTnLst>
                                    <p:animMotion origin="layout" path="M 2.70833E-6 3.7037E-6 L 0.04674 3.7037E-6 " pathEditMode="relative" rAng="0" ptsTypes="AA">
                                      <p:cBhvr>
                                        <p:cTn id="15" dur="750" spd="-100000" fill="hold"/>
                                        <p:tgtEl>
                                          <p:spTgt spid="26"/>
                                        </p:tgtEl>
                                        <p:attrNameLst>
                                          <p:attrName>ppt_x</p:attrName>
                                          <p:attrName>ppt_y</p:attrName>
                                        </p:attrNameLst>
                                      </p:cBhvr>
                                      <p:rCtr x="2331" y="0"/>
                                    </p:animMotion>
                                  </p:childTnLst>
                                </p:cTn>
                              </p:par>
                              <p:par>
                                <p:cTn id="16" presetID="10" presetClass="entr" presetSubtype="0" fill="hold" nodeType="withEffect">
                                  <p:stCondLst>
                                    <p:cond delay="10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63" presetClass="path" presetSubtype="0" decel="100000" fill="hold" nodeType="withEffect">
                                  <p:stCondLst>
                                    <p:cond delay="100"/>
                                  </p:stCondLst>
                                  <p:childTnLst>
                                    <p:animMotion origin="layout" path="M -2.08333E-7 2.22222E-6 L 0.04675 2.22222E-6 " pathEditMode="relative" rAng="0" ptsTypes="AA">
                                      <p:cBhvr>
                                        <p:cTn id="20" dur="750" spd="-100000" fill="hold"/>
                                        <p:tgtEl>
                                          <p:spTgt spid="27"/>
                                        </p:tgtEl>
                                        <p:attrNameLst>
                                          <p:attrName>ppt_x</p:attrName>
                                          <p:attrName>ppt_y</p:attrName>
                                        </p:attrNameLst>
                                      </p:cBhvr>
                                      <p:rCtr x="2331" y="0"/>
                                    </p:animMotion>
                                  </p:childTnLst>
                                </p:cTn>
                              </p:par>
                              <p:par>
                                <p:cTn id="21" presetID="10" presetClass="entr" presetSubtype="0" fill="hold" nodeType="withEffect">
                                  <p:stCondLst>
                                    <p:cond delay="2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63" presetClass="path" presetSubtype="0" decel="100000" fill="hold" nodeType="withEffect">
                                  <p:stCondLst>
                                    <p:cond delay="200"/>
                                  </p:stCondLst>
                                  <p:childTnLst>
                                    <p:animMotion origin="layout" path="M -2.08333E-7 2.22222E-6 L 0.04675 2.22222E-6 " pathEditMode="relative" rAng="0" ptsTypes="AA">
                                      <p:cBhvr>
                                        <p:cTn id="25" dur="750" spd="-100000" fill="hold"/>
                                        <p:tgtEl>
                                          <p:spTgt spid="28"/>
                                        </p:tgtEl>
                                        <p:attrNameLst>
                                          <p:attrName>ppt_x</p:attrName>
                                          <p:attrName>ppt_y</p:attrName>
                                        </p:attrNameLst>
                                      </p:cBhvr>
                                      <p:rCtr x="2331" y="0"/>
                                    </p:animMotion>
                                  </p:childTnLst>
                                </p:cTn>
                              </p:par>
                              <p:par>
                                <p:cTn id="26" presetID="10" presetClass="entr" presetSubtype="0" fill="hold" nodeType="withEffect">
                                  <p:stCondLst>
                                    <p:cond delay="30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63" presetClass="path" presetSubtype="0" decel="100000" fill="hold" nodeType="withEffect">
                                  <p:stCondLst>
                                    <p:cond delay="300"/>
                                  </p:stCondLst>
                                  <p:childTnLst>
                                    <p:animMotion origin="layout" path="M -2.08333E-7 2.22222E-6 L 0.04675 2.22222E-6 " pathEditMode="relative" rAng="0" ptsTypes="AA">
                                      <p:cBhvr>
                                        <p:cTn id="30" dur="750" spd="-100000" fill="hold"/>
                                        <p:tgtEl>
                                          <p:spTgt spid="39"/>
                                        </p:tgtEl>
                                        <p:attrNameLst>
                                          <p:attrName>ppt_x</p:attrName>
                                          <p:attrName>ppt_y</p:attrName>
                                        </p:attrNameLst>
                                      </p:cBhvr>
                                      <p:rCtr x="2331" y="0"/>
                                    </p:animMotion>
                                  </p:childTnLst>
                                </p:cTn>
                              </p:par>
                              <p:par>
                                <p:cTn id="31" presetID="10" presetClass="entr" presetSubtype="0" fill="hold" nodeType="withEffect">
                                  <p:stCondLst>
                                    <p:cond delay="40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63" presetClass="path" presetSubtype="0" decel="100000" fill="hold" nodeType="withEffect">
                                  <p:stCondLst>
                                    <p:cond delay="400"/>
                                  </p:stCondLst>
                                  <p:childTnLst>
                                    <p:animMotion origin="layout" path="M -2.08333E-7 2.22222E-6 L 0.04675 2.22222E-6 " pathEditMode="relative" rAng="0" ptsTypes="AA">
                                      <p:cBhvr>
                                        <p:cTn id="35" dur="750" spd="-100000" fill="hold"/>
                                        <p:tgtEl>
                                          <p:spTgt spid="2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a:extLst>
              <a:ext uri="{FF2B5EF4-FFF2-40B4-BE49-F238E27FC236}">
                <a16:creationId xmlns:a16="http://schemas.microsoft.com/office/drawing/2014/main" id="{2E3872F5-BC37-4668-994E-2B780FCE87EA}"/>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dirty="0">
                <a:gradFill>
                  <a:gsLst>
                    <a:gs pos="1250">
                      <a:srgbClr val="353535"/>
                    </a:gs>
                    <a:gs pos="100000">
                      <a:srgbClr val="353535"/>
                    </a:gs>
                  </a:gsLst>
                  <a:lin ang="5400000" scaled="0"/>
                </a:gradFill>
                <a:latin typeface="Segoe UI Light"/>
              </a:rPr>
              <a:t>Vision</a:t>
            </a:r>
          </a:p>
        </p:txBody>
      </p:sp>
      <p:sp>
        <p:nvSpPr>
          <p:cNvPr id="41" name="Rectangle 40">
            <a:extLst>
              <a:ext uri="{FF2B5EF4-FFF2-40B4-BE49-F238E27FC236}">
                <a16:creationId xmlns:a16="http://schemas.microsoft.com/office/drawing/2014/main" id="{AFC5CEA7-4F09-424F-9917-50403F152875}"/>
              </a:ext>
            </a:extLst>
          </p:cNvPr>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7F8E01D2-84DA-4CA7-8004-0AF89B72C716}"/>
              </a:ext>
            </a:extLst>
          </p:cNvPr>
          <p:cNvGrpSpPr/>
          <p:nvPr/>
        </p:nvGrpSpPr>
        <p:grpSpPr>
          <a:xfrm>
            <a:off x="1" y="253599"/>
            <a:ext cx="1188839" cy="956984"/>
            <a:chOff x="1" y="253599"/>
            <a:chExt cx="1188839" cy="956984"/>
          </a:xfrm>
        </p:grpSpPr>
        <p:sp>
          <p:nvSpPr>
            <p:cNvPr id="36" name="Rectangle 35">
              <a:extLst>
                <a:ext uri="{FF2B5EF4-FFF2-40B4-BE49-F238E27FC236}">
                  <a16:creationId xmlns:a16="http://schemas.microsoft.com/office/drawing/2014/main" id="{7A07E0C7-8323-4D86-8EA3-D58420A83DBE}"/>
                </a:ext>
              </a:extLst>
            </p:cNvPr>
            <p:cNvSpPr/>
            <p:nvPr/>
          </p:nvSpPr>
          <p:spPr bwMode="auto">
            <a:xfrm>
              <a:off x="1" y="253599"/>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5" name="Group 35">
              <a:extLst>
                <a:ext uri="{FF2B5EF4-FFF2-40B4-BE49-F238E27FC236}">
                  <a16:creationId xmlns:a16="http://schemas.microsoft.com/office/drawing/2014/main" id="{C61A27E8-D390-4B8E-BBE2-84608E5AC657}"/>
                </a:ext>
              </a:extLst>
            </p:cNvPr>
            <p:cNvGrpSpPr>
              <a:grpSpLocks noChangeAspect="1"/>
            </p:cNvGrpSpPr>
            <p:nvPr/>
          </p:nvGrpSpPr>
          <p:grpSpPr bwMode="auto">
            <a:xfrm>
              <a:off x="269603" y="508238"/>
              <a:ext cx="648049" cy="455925"/>
              <a:chOff x="-1" y="4"/>
              <a:chExt cx="2830" cy="1991"/>
            </a:xfrm>
            <a:solidFill>
              <a:schemeClr val="bg2"/>
            </a:solidFill>
          </p:grpSpPr>
          <p:sp>
            <p:nvSpPr>
              <p:cNvPr id="46" name="Freeform 36">
                <a:extLst>
                  <a:ext uri="{FF2B5EF4-FFF2-40B4-BE49-F238E27FC236}">
                    <a16:creationId xmlns:a16="http://schemas.microsoft.com/office/drawing/2014/main" id="{A20C3F53-6C32-4E23-9DEB-C429230FBEED}"/>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37">
                <a:extLst>
                  <a:ext uri="{FF2B5EF4-FFF2-40B4-BE49-F238E27FC236}">
                    <a16:creationId xmlns:a16="http://schemas.microsoft.com/office/drawing/2014/main" id="{8ABA5B8B-34C8-4641-AAB3-9C702963DC56}"/>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 name="Rectangle 1">
            <a:extLst>
              <a:ext uri="{FF2B5EF4-FFF2-40B4-BE49-F238E27FC236}">
                <a16:creationId xmlns:a16="http://schemas.microsoft.com/office/drawing/2014/main" id="{78EB74E5-823C-4DAE-93D6-5055FA61BBA7}"/>
              </a:ext>
            </a:extLst>
          </p:cNvPr>
          <p:cNvSpPr/>
          <p:nvPr/>
        </p:nvSpPr>
        <p:spPr>
          <a:xfrm>
            <a:off x="489052" y="2014817"/>
            <a:ext cx="8227245" cy="1077218"/>
          </a:xfrm>
          <a:prstGeom prst="rect">
            <a:avLst/>
          </a:prstGeom>
        </p:spPr>
        <p:txBody>
          <a:bodyPr wrap="square">
            <a:spAutoFit/>
          </a:bodyPr>
          <a:lstStyle/>
          <a:p>
            <a:r>
              <a:rPr lang="en-US" sz="3200" dirty="0">
                <a:gradFill>
                  <a:gsLst>
                    <a:gs pos="2326">
                      <a:schemeClr val="tx1"/>
                    </a:gs>
                    <a:gs pos="30000">
                      <a:schemeClr val="tx1"/>
                    </a:gs>
                  </a:gsLst>
                  <a:lin ang="5400000" scaled="1"/>
                </a:gradFill>
                <a:latin typeface="+mj-lt"/>
              </a:rPr>
              <a:t>Image-processing algorithms to smartly identify, caption, and moderate your pictures</a:t>
            </a:r>
          </a:p>
        </p:txBody>
      </p:sp>
      <p:pic>
        <p:nvPicPr>
          <p:cNvPr id="12" name="Picture 11">
            <a:extLst>
              <a:ext uri="{FF2B5EF4-FFF2-40B4-BE49-F238E27FC236}">
                <a16:creationId xmlns:a16="http://schemas.microsoft.com/office/drawing/2014/main" id="{BE9F310A-1C5A-4E1B-ABA5-E8803A3ABB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3627" y="3387201"/>
            <a:ext cx="8227245" cy="2274645"/>
          </a:xfrm>
          <a:prstGeom prst="rect">
            <a:avLst/>
          </a:prstGeom>
        </p:spPr>
      </p:pic>
    </p:spTree>
    <p:extLst>
      <p:ext uri="{BB962C8B-B14F-4D97-AF65-F5344CB8AC3E}">
        <p14:creationId xmlns:p14="http://schemas.microsoft.com/office/powerpoint/2010/main" val="40974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63" presetClass="path" presetSubtype="0" decel="100000" fill="hold" grpId="1" nodeType="withEffect">
                                  <p:stCondLst>
                                    <p:cond delay="0"/>
                                  </p:stCondLst>
                                  <p:childTnLst>
                                    <p:animMotion origin="layout" path="M -0.02617 -2.96296E-6 L -1.66667E-6 -2.96296E-6 " pathEditMode="relative" rAng="0" ptsTypes="AA">
                                      <p:cBhvr>
                                        <p:cTn id="9" dur="500" fill="hold"/>
                                        <p:tgtEl>
                                          <p:spTgt spid="44"/>
                                        </p:tgtEl>
                                        <p:attrNameLst>
                                          <p:attrName>ppt_x</p:attrName>
                                          <p:attrName>ppt_y</p:attrName>
                                        </p:attrNameLst>
                                      </p:cBhvr>
                                      <p:rCtr x="1302" y="0"/>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nodeType="withEffect">
                                  <p:stCondLst>
                                    <p:cond delay="0"/>
                                  </p:stCondLst>
                                  <p:childTnLst>
                                    <p:animMotion origin="layout" path="M -0.02617 -2.96296E-6 L 2.08333E-6 -2.96296E-6 " pathEditMode="relative" rAng="0" ptsTypes="AA">
                                      <p:cBhvr>
                                        <p:cTn id="14" dur="500" fill="hold"/>
                                        <p:tgtEl>
                                          <p:spTgt spid="3"/>
                                        </p:tgtEl>
                                        <p:attrNameLst>
                                          <p:attrName>ppt_x</p:attrName>
                                          <p:attrName>ppt_y</p:attrName>
                                        </p:attrNameLst>
                                      </p:cBhvr>
                                      <p:rCtr x="1302" y="0"/>
                                    </p:animMotion>
                                  </p:childTnLst>
                                </p:cTn>
                              </p:par>
                              <p:par>
                                <p:cTn id="15" presetID="10"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par>
                                <p:cTn id="18" presetID="63" presetClass="path" presetSubtype="0" decel="100000" fill="hold" grpId="1" nodeType="withEffect">
                                  <p:stCondLst>
                                    <p:cond delay="0"/>
                                  </p:stCondLst>
                                  <p:childTnLst>
                                    <p:animMotion origin="layout" path="M -0.02617 -2.22222E-6 L -3.95833E-6 -2.22222E-6 " pathEditMode="relative" rAng="0" ptsTypes="AA">
                                      <p:cBhvr>
                                        <p:cTn id="19" dur="500" fill="hold"/>
                                        <p:tgtEl>
                                          <p:spTgt spid="2"/>
                                        </p:tgtEl>
                                        <p:attrNameLst>
                                          <p:attrName>ppt_x</p:attrName>
                                          <p:attrName>ppt_y</p:attrName>
                                        </p:attrNameLst>
                                      </p:cBhvr>
                                      <p:rCtr x="1302" y="0"/>
                                    </p:animMotion>
                                  </p:childTnLst>
                                </p:cTn>
                              </p:par>
                              <p:par>
                                <p:cTn id="20" presetID="10" presetClass="entr" presetSubtype="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2" grpId="0"/>
      <p:bldP spid="2"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a:extLst>
              <a:ext uri="{FF2B5EF4-FFF2-40B4-BE49-F238E27FC236}">
                <a16:creationId xmlns:a16="http://schemas.microsoft.com/office/drawing/2014/main" id="{2E3872F5-BC37-4668-994E-2B780FCE87EA}"/>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Vision</a:t>
            </a:r>
          </a:p>
        </p:txBody>
      </p:sp>
      <p:sp>
        <p:nvSpPr>
          <p:cNvPr id="57" name="TextBox 56"/>
          <p:cNvSpPr txBox="1"/>
          <p:nvPr/>
        </p:nvSpPr>
        <p:spPr>
          <a:xfrm>
            <a:off x="3375019" y="4861397"/>
            <a:ext cx="2176454" cy="50104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ontent Moderator</a:t>
            </a:r>
          </a:p>
        </p:txBody>
      </p:sp>
      <p:sp>
        <p:nvSpPr>
          <p:cNvPr id="58" name="TextBox 57"/>
          <p:cNvSpPr txBox="1"/>
          <p:nvPr/>
        </p:nvSpPr>
        <p:spPr>
          <a:xfrm>
            <a:off x="6417226" y="4861397"/>
            <a:ext cx="260984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50"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ustom Vision</a:t>
            </a:r>
            <a:endParaRPr lang="en-US" sz="1567"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endParaRPr>
          </a:p>
        </p:txBody>
      </p:sp>
      <p:sp>
        <p:nvSpPr>
          <p:cNvPr id="59" name="TextBox 58"/>
          <p:cNvSpPr txBox="1"/>
          <p:nvPr/>
        </p:nvSpPr>
        <p:spPr>
          <a:xfrm>
            <a:off x="5087578" y="2536801"/>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Video Indexer</a:t>
            </a:r>
          </a:p>
        </p:txBody>
      </p:sp>
      <p:sp>
        <p:nvSpPr>
          <p:cNvPr id="4" name="Rectangle 3">
            <a:extLst>
              <a:ext uri="{FF2B5EF4-FFF2-40B4-BE49-F238E27FC236}">
                <a16:creationId xmlns:a16="http://schemas.microsoft.com/office/drawing/2014/main" id="{69A7FE57-AB94-4DBE-A18F-8A77D36EE5CC}"/>
              </a:ext>
            </a:extLst>
          </p:cNvPr>
          <p:cNvSpPr/>
          <p:nvPr/>
        </p:nvSpPr>
        <p:spPr>
          <a:xfrm>
            <a:off x="5016593" y="2982629"/>
            <a:ext cx="2318424" cy="479807"/>
          </a:xfrm>
          <a:prstGeom prst="rect">
            <a:avLst/>
          </a:prstGeom>
        </p:spPr>
        <p:txBody>
          <a:bodyPr wrap="square">
            <a:spAutoFit/>
          </a:bodyPr>
          <a:lstStyle/>
          <a:p>
            <a:pPr algn="ctr" defTabSz="914139">
              <a:lnSpc>
                <a:spcPct val="90000"/>
              </a:lnSpc>
              <a:spcAft>
                <a:spcPts val="575"/>
              </a:spcAft>
              <a:defRPr/>
            </a:pPr>
            <a: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Process and extract smart insights from videos</a:t>
            </a:r>
          </a:p>
        </p:txBody>
      </p:sp>
      <p:sp>
        <p:nvSpPr>
          <p:cNvPr id="29" name="Rectangle 28">
            <a:extLst>
              <a:ext uri="{FF2B5EF4-FFF2-40B4-BE49-F238E27FC236}">
                <a16:creationId xmlns:a16="http://schemas.microsoft.com/office/drawing/2014/main" id="{4EED9C97-4676-4146-BA4C-FC209D054AF1}"/>
              </a:ext>
            </a:extLst>
          </p:cNvPr>
          <p:cNvSpPr/>
          <p:nvPr/>
        </p:nvSpPr>
        <p:spPr>
          <a:xfrm>
            <a:off x="6307224" y="5320653"/>
            <a:ext cx="2829845" cy="673551"/>
          </a:xfrm>
          <a:prstGeom prst="rect">
            <a:avLst/>
          </a:prstGeom>
        </p:spPr>
        <p:txBody>
          <a:bodyPr wrap="square">
            <a:spAutoFit/>
          </a:bodyPr>
          <a:lstStyle/>
          <a:p>
            <a:pPr algn="ctr" defTabSz="914139">
              <a:lnSpc>
                <a:spcPct val="90000"/>
              </a:lnSpc>
              <a:spcAft>
                <a:spcPts val="575"/>
              </a:spcAft>
              <a:defRPr/>
            </a:pPr>
            <a: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ustomizable web service </a:t>
            </a:r>
            <a:b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that learns to recognize </a:t>
            </a:r>
            <a:b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specific content in imagery </a:t>
            </a:r>
          </a:p>
        </p:txBody>
      </p:sp>
      <p:sp>
        <p:nvSpPr>
          <p:cNvPr id="30" name="Rectangle 29">
            <a:extLst>
              <a:ext uri="{FF2B5EF4-FFF2-40B4-BE49-F238E27FC236}">
                <a16:creationId xmlns:a16="http://schemas.microsoft.com/office/drawing/2014/main" id="{A12632B5-F48C-41F4-BF72-F9A276D3655F}"/>
              </a:ext>
            </a:extLst>
          </p:cNvPr>
          <p:cNvSpPr/>
          <p:nvPr/>
        </p:nvSpPr>
        <p:spPr>
          <a:xfrm>
            <a:off x="3017314" y="5320653"/>
            <a:ext cx="2891865" cy="673551"/>
          </a:xfrm>
          <a:prstGeom prst="rect">
            <a:avLst/>
          </a:prstGeom>
        </p:spPr>
        <p:txBody>
          <a:bodyPr wrap="square">
            <a:spAutoFit/>
          </a:bodyPr>
          <a:lstStyle/>
          <a:p>
            <a:pPr algn="ctr" defTabSz="914139">
              <a:lnSpc>
                <a:spcPct val="90000"/>
              </a:lnSpc>
              <a:spcAft>
                <a:spcPts val="575"/>
              </a:spcAft>
              <a:defRPr/>
            </a:pPr>
            <a: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Machine-assisted moderation </a:t>
            </a:r>
            <a:b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of text and images, augmented with human review tools</a:t>
            </a:r>
          </a:p>
        </p:txBody>
      </p:sp>
      <p:sp>
        <p:nvSpPr>
          <p:cNvPr id="127" name="TextBox 126"/>
          <p:cNvSpPr txBox="1"/>
          <p:nvPr/>
        </p:nvSpPr>
        <p:spPr>
          <a:xfrm>
            <a:off x="1616464" y="2536801"/>
            <a:ext cx="2399055" cy="501134"/>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50"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omputer Vision</a:t>
            </a:r>
          </a:p>
        </p:txBody>
      </p:sp>
      <p:sp>
        <p:nvSpPr>
          <p:cNvPr id="20" name="Rectangle 19"/>
          <p:cNvSpPr/>
          <p:nvPr/>
        </p:nvSpPr>
        <p:spPr>
          <a:xfrm>
            <a:off x="1676180" y="2982629"/>
            <a:ext cx="2279623" cy="479807"/>
          </a:xfrm>
          <a:prstGeom prst="rect">
            <a:avLst/>
          </a:prstGeom>
        </p:spPr>
        <p:txBody>
          <a:bodyPr wrap="square">
            <a:spAutoFit/>
          </a:bodyPr>
          <a:lstStyle/>
          <a:p>
            <a:pPr algn="ctr" defTabSz="914139">
              <a:lnSpc>
                <a:spcPct val="90000"/>
              </a:lnSpc>
              <a:spcAft>
                <a:spcPts val="575"/>
              </a:spcAft>
              <a:defRPr/>
            </a:pPr>
            <a: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Distill actionable information from images </a:t>
            </a:r>
          </a:p>
        </p:txBody>
      </p:sp>
      <p:sp>
        <p:nvSpPr>
          <p:cNvPr id="135" name="TextBox 134"/>
          <p:cNvSpPr txBox="1"/>
          <p:nvPr/>
        </p:nvSpPr>
        <p:spPr>
          <a:xfrm>
            <a:off x="8281336" y="2536801"/>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50"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Face</a:t>
            </a:r>
          </a:p>
        </p:txBody>
      </p:sp>
      <p:sp>
        <p:nvSpPr>
          <p:cNvPr id="136" name="Rectangle 135"/>
          <p:cNvSpPr/>
          <p:nvPr/>
        </p:nvSpPr>
        <p:spPr>
          <a:xfrm>
            <a:off x="7988056" y="2982629"/>
            <a:ext cx="2763014" cy="674031"/>
          </a:xfrm>
          <a:prstGeom prst="rect">
            <a:avLst/>
          </a:prstGeom>
        </p:spPr>
        <p:txBody>
          <a:bodyPr wrap="square">
            <a:spAutoFit/>
          </a:bodyPr>
          <a:lstStyle/>
          <a:p>
            <a:pPr algn="ctr" defTabSz="914139">
              <a:lnSpc>
                <a:spcPct val="90000"/>
              </a:lnSpc>
              <a:spcAft>
                <a:spcPts val="575"/>
              </a:spcAft>
              <a:defRPr/>
            </a:pPr>
            <a: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Detect, identify, analyze, organize, tag faces in photos, and even recognize emotions</a:t>
            </a:r>
          </a:p>
        </p:txBody>
      </p:sp>
      <p:sp>
        <p:nvSpPr>
          <p:cNvPr id="41" name="Rectangle 40">
            <a:extLst>
              <a:ext uri="{FF2B5EF4-FFF2-40B4-BE49-F238E27FC236}">
                <a16:creationId xmlns:a16="http://schemas.microsoft.com/office/drawing/2014/main" id="{AFC5CEA7-4F09-424F-9917-50403F152875}"/>
              </a:ext>
            </a:extLst>
          </p:cNvPr>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5" name="Group 35">
            <a:extLst>
              <a:ext uri="{FF2B5EF4-FFF2-40B4-BE49-F238E27FC236}">
                <a16:creationId xmlns:a16="http://schemas.microsoft.com/office/drawing/2014/main" id="{813C2C96-6903-488C-9E28-55C47F72E836}"/>
              </a:ext>
            </a:extLst>
          </p:cNvPr>
          <p:cNvGrpSpPr>
            <a:grpSpLocks noChangeAspect="1"/>
          </p:cNvGrpSpPr>
          <p:nvPr/>
        </p:nvGrpSpPr>
        <p:grpSpPr bwMode="auto">
          <a:xfrm>
            <a:off x="2462126" y="1930707"/>
            <a:ext cx="707731" cy="497913"/>
            <a:chOff x="-1" y="4"/>
            <a:chExt cx="2830" cy="1991"/>
          </a:xfrm>
          <a:solidFill>
            <a:srgbClr val="047CDA"/>
          </a:solidFill>
        </p:grpSpPr>
        <p:sp>
          <p:nvSpPr>
            <p:cNvPr id="66" name="Freeform 36">
              <a:extLst>
                <a:ext uri="{FF2B5EF4-FFF2-40B4-BE49-F238E27FC236}">
                  <a16:creationId xmlns:a16="http://schemas.microsoft.com/office/drawing/2014/main" id="{1C4B672F-FE24-4140-9ECB-FDB0D355315E}"/>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7">
              <a:extLst>
                <a:ext uri="{FF2B5EF4-FFF2-40B4-BE49-F238E27FC236}">
                  <a16:creationId xmlns:a16="http://schemas.microsoft.com/office/drawing/2014/main" id="{519B5E8D-FC7B-4793-8297-90AD433C11F9}"/>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Group 20">
            <a:extLst>
              <a:ext uri="{FF2B5EF4-FFF2-40B4-BE49-F238E27FC236}">
                <a16:creationId xmlns:a16="http://schemas.microsoft.com/office/drawing/2014/main" id="{CB6A6DE3-B0C4-42FC-8A55-E151563BB20E}"/>
              </a:ext>
            </a:extLst>
          </p:cNvPr>
          <p:cNvGrpSpPr>
            <a:grpSpLocks noChangeAspect="1"/>
          </p:cNvGrpSpPr>
          <p:nvPr/>
        </p:nvGrpSpPr>
        <p:grpSpPr bwMode="auto">
          <a:xfrm>
            <a:off x="9044463" y="1854054"/>
            <a:ext cx="650201" cy="651219"/>
            <a:chOff x="-1" y="2"/>
            <a:chExt cx="2554" cy="2558"/>
          </a:xfrm>
          <a:solidFill>
            <a:srgbClr val="047CDA"/>
          </a:solidFill>
        </p:grpSpPr>
        <p:sp>
          <p:nvSpPr>
            <p:cNvPr id="69" name="Freeform 21">
              <a:extLst>
                <a:ext uri="{FF2B5EF4-FFF2-40B4-BE49-F238E27FC236}">
                  <a16:creationId xmlns:a16="http://schemas.microsoft.com/office/drawing/2014/main" id="{F7D09ED7-3D94-4FE8-8094-F68EA01108E0}"/>
                </a:ext>
              </a:extLst>
            </p:cNvPr>
            <p:cNvSpPr>
              <a:spLocks noEditPoints="1"/>
            </p:cNvSpPr>
            <p:nvPr/>
          </p:nvSpPr>
          <p:spPr bwMode="auto">
            <a:xfrm>
              <a:off x="-1" y="2"/>
              <a:ext cx="2554" cy="2558"/>
            </a:xfrm>
            <a:custGeom>
              <a:avLst/>
              <a:gdLst>
                <a:gd name="T0" fmla="*/ 0 w 2554"/>
                <a:gd name="T1" fmla="*/ 2558 h 2558"/>
                <a:gd name="T2" fmla="*/ 0 w 2554"/>
                <a:gd name="T3" fmla="*/ 0 h 2558"/>
                <a:gd name="T4" fmla="*/ 2554 w 2554"/>
                <a:gd name="T5" fmla="*/ 0 h 2558"/>
                <a:gd name="T6" fmla="*/ 2554 w 2554"/>
                <a:gd name="T7" fmla="*/ 2558 h 2558"/>
                <a:gd name="T8" fmla="*/ 0 w 2554"/>
                <a:gd name="T9" fmla="*/ 2558 h 2558"/>
                <a:gd name="T10" fmla="*/ 2365 w 2554"/>
                <a:gd name="T11" fmla="*/ 2369 h 2558"/>
                <a:gd name="T12" fmla="*/ 2365 w 2554"/>
                <a:gd name="T13" fmla="*/ 190 h 2558"/>
                <a:gd name="T14" fmla="*/ 189 w 2554"/>
                <a:gd name="T15" fmla="*/ 190 h 2558"/>
                <a:gd name="T16" fmla="*/ 189 w 2554"/>
                <a:gd name="T17" fmla="*/ 2369 h 2558"/>
                <a:gd name="T18" fmla="*/ 2365 w 2554"/>
                <a:gd name="T19" fmla="*/ 2369 h 2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4" h="2558">
                  <a:moveTo>
                    <a:pt x="0" y="2558"/>
                  </a:moveTo>
                  <a:lnTo>
                    <a:pt x="0" y="0"/>
                  </a:lnTo>
                  <a:lnTo>
                    <a:pt x="2554" y="0"/>
                  </a:lnTo>
                  <a:lnTo>
                    <a:pt x="2554" y="2558"/>
                  </a:lnTo>
                  <a:lnTo>
                    <a:pt x="0" y="2558"/>
                  </a:lnTo>
                  <a:close/>
                  <a:moveTo>
                    <a:pt x="2365" y="2369"/>
                  </a:moveTo>
                  <a:lnTo>
                    <a:pt x="2365" y="190"/>
                  </a:lnTo>
                  <a:lnTo>
                    <a:pt x="189" y="190"/>
                  </a:lnTo>
                  <a:lnTo>
                    <a:pt x="189" y="2369"/>
                  </a:lnTo>
                  <a:lnTo>
                    <a:pt x="2365" y="23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2">
              <a:extLst>
                <a:ext uri="{FF2B5EF4-FFF2-40B4-BE49-F238E27FC236}">
                  <a16:creationId xmlns:a16="http://schemas.microsoft.com/office/drawing/2014/main" id="{270BFF7D-FD7F-4E21-8829-D215818BDAC1}"/>
                </a:ext>
              </a:extLst>
            </p:cNvPr>
            <p:cNvSpPr>
              <a:spLocks/>
            </p:cNvSpPr>
            <p:nvPr/>
          </p:nvSpPr>
          <p:spPr bwMode="auto">
            <a:xfrm>
              <a:off x="660" y="1527"/>
              <a:ext cx="1232" cy="402"/>
            </a:xfrm>
            <a:custGeom>
              <a:avLst/>
              <a:gdLst>
                <a:gd name="T0" fmla="*/ 0 w 592"/>
                <a:gd name="T1" fmla="*/ 38 h 193"/>
                <a:gd name="T2" fmla="*/ 296 w 592"/>
                <a:gd name="T3" fmla="*/ 193 h 193"/>
                <a:gd name="T4" fmla="*/ 592 w 592"/>
                <a:gd name="T5" fmla="*/ 38 h 193"/>
                <a:gd name="T6" fmla="*/ 533 w 592"/>
                <a:gd name="T7" fmla="*/ 0 h 193"/>
                <a:gd name="T8" fmla="*/ 296 w 592"/>
                <a:gd name="T9" fmla="*/ 123 h 193"/>
                <a:gd name="T10" fmla="*/ 59 w 592"/>
                <a:gd name="T11" fmla="*/ 0 h 193"/>
                <a:gd name="T12" fmla="*/ 0 w 592"/>
                <a:gd name="T13" fmla="*/ 38 h 193"/>
              </a:gdLst>
              <a:ahLst/>
              <a:cxnLst>
                <a:cxn ang="0">
                  <a:pos x="T0" y="T1"/>
                </a:cxn>
                <a:cxn ang="0">
                  <a:pos x="T2" y="T3"/>
                </a:cxn>
                <a:cxn ang="0">
                  <a:pos x="T4" y="T5"/>
                </a:cxn>
                <a:cxn ang="0">
                  <a:pos x="T6" y="T7"/>
                </a:cxn>
                <a:cxn ang="0">
                  <a:pos x="T8" y="T9"/>
                </a:cxn>
                <a:cxn ang="0">
                  <a:pos x="T10" y="T11"/>
                </a:cxn>
                <a:cxn ang="0">
                  <a:pos x="T12" y="T13"/>
                </a:cxn>
              </a:cxnLst>
              <a:rect l="0" t="0" r="r" b="b"/>
              <a:pathLst>
                <a:path w="592" h="193">
                  <a:moveTo>
                    <a:pt x="0" y="38"/>
                  </a:moveTo>
                  <a:cubicBezTo>
                    <a:pt x="62" y="133"/>
                    <a:pt x="173" y="193"/>
                    <a:pt x="296" y="193"/>
                  </a:cubicBezTo>
                  <a:cubicBezTo>
                    <a:pt x="419" y="193"/>
                    <a:pt x="530" y="133"/>
                    <a:pt x="592" y="38"/>
                  </a:cubicBezTo>
                  <a:cubicBezTo>
                    <a:pt x="533" y="0"/>
                    <a:pt x="533" y="0"/>
                    <a:pt x="533" y="0"/>
                  </a:cubicBezTo>
                  <a:cubicBezTo>
                    <a:pt x="485" y="75"/>
                    <a:pt x="395" y="123"/>
                    <a:pt x="296" y="123"/>
                  </a:cubicBezTo>
                  <a:cubicBezTo>
                    <a:pt x="197" y="123"/>
                    <a:pt x="107" y="75"/>
                    <a:pt x="59" y="0"/>
                  </a:cubicBezTo>
                  <a:lnTo>
                    <a:pt x="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23">
              <a:extLst>
                <a:ext uri="{FF2B5EF4-FFF2-40B4-BE49-F238E27FC236}">
                  <a16:creationId xmlns:a16="http://schemas.microsoft.com/office/drawing/2014/main" id="{EC963B7E-D1C0-4086-876E-5E0AA32F5FB7}"/>
                </a:ext>
              </a:extLst>
            </p:cNvPr>
            <p:cNvSpPr>
              <a:spLocks noChangeArrowheads="1"/>
            </p:cNvSpPr>
            <p:nvPr/>
          </p:nvSpPr>
          <p:spPr bwMode="auto">
            <a:xfrm>
              <a:off x="660"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24">
              <a:extLst>
                <a:ext uri="{FF2B5EF4-FFF2-40B4-BE49-F238E27FC236}">
                  <a16:creationId xmlns:a16="http://schemas.microsoft.com/office/drawing/2014/main" id="{1E6E9FC3-A940-4E90-B1CA-A1738D80B9F5}"/>
                </a:ext>
              </a:extLst>
            </p:cNvPr>
            <p:cNvSpPr>
              <a:spLocks noChangeArrowheads="1"/>
            </p:cNvSpPr>
            <p:nvPr/>
          </p:nvSpPr>
          <p:spPr bwMode="auto">
            <a:xfrm>
              <a:off x="1561"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Freeform 32">
            <a:extLst>
              <a:ext uri="{FF2B5EF4-FFF2-40B4-BE49-F238E27FC236}">
                <a16:creationId xmlns:a16="http://schemas.microsoft.com/office/drawing/2014/main" id="{A6E36EFE-DF1B-4773-99BB-7AD427D0B91D}"/>
              </a:ext>
            </a:extLst>
          </p:cNvPr>
          <p:cNvSpPr>
            <a:spLocks noEditPoints="1"/>
          </p:cNvSpPr>
          <p:nvPr/>
        </p:nvSpPr>
        <p:spPr bwMode="auto">
          <a:xfrm>
            <a:off x="5879222" y="1835269"/>
            <a:ext cx="593166" cy="688789"/>
          </a:xfrm>
          <a:custGeom>
            <a:avLst/>
            <a:gdLst>
              <a:gd name="T0" fmla="*/ 189 w 2320"/>
              <a:gd name="T1" fmla="*/ 329 h 2694"/>
              <a:gd name="T2" fmla="*/ 189 w 2320"/>
              <a:gd name="T3" fmla="*/ 1175 h 2694"/>
              <a:gd name="T4" fmla="*/ 0 w 2320"/>
              <a:gd name="T5" fmla="*/ 1175 h 2694"/>
              <a:gd name="T6" fmla="*/ 0 w 2320"/>
              <a:gd name="T7" fmla="*/ 0 h 2694"/>
              <a:gd name="T8" fmla="*/ 1026 w 2320"/>
              <a:gd name="T9" fmla="*/ 596 h 2694"/>
              <a:gd name="T10" fmla="*/ 932 w 2320"/>
              <a:gd name="T11" fmla="*/ 761 h 2694"/>
              <a:gd name="T12" fmla="*/ 189 w 2320"/>
              <a:gd name="T13" fmla="*/ 329 h 2694"/>
              <a:gd name="T14" fmla="*/ 1225 w 2320"/>
              <a:gd name="T15" fmla="*/ 1763 h 2694"/>
              <a:gd name="T16" fmla="*/ 1941 w 2320"/>
              <a:gd name="T17" fmla="*/ 1346 h 2694"/>
              <a:gd name="T18" fmla="*/ 1225 w 2320"/>
              <a:gd name="T19" fmla="*/ 932 h 2694"/>
              <a:gd name="T20" fmla="*/ 1321 w 2320"/>
              <a:gd name="T21" fmla="*/ 767 h 2694"/>
              <a:gd name="T22" fmla="*/ 2320 w 2320"/>
              <a:gd name="T23" fmla="*/ 1346 h 2694"/>
              <a:gd name="T24" fmla="*/ 1321 w 2320"/>
              <a:gd name="T25" fmla="*/ 1927 h 2694"/>
              <a:gd name="T26" fmla="*/ 1225 w 2320"/>
              <a:gd name="T27" fmla="*/ 1763 h 2694"/>
              <a:gd name="T28" fmla="*/ 189 w 2320"/>
              <a:gd name="T29" fmla="*/ 2365 h 2694"/>
              <a:gd name="T30" fmla="*/ 932 w 2320"/>
              <a:gd name="T31" fmla="*/ 1934 h 2694"/>
              <a:gd name="T32" fmla="*/ 1026 w 2320"/>
              <a:gd name="T33" fmla="*/ 2098 h 2694"/>
              <a:gd name="T34" fmla="*/ 0 w 2320"/>
              <a:gd name="T35" fmla="*/ 2694 h 2694"/>
              <a:gd name="T36" fmla="*/ 0 w 2320"/>
              <a:gd name="T37" fmla="*/ 1517 h 2694"/>
              <a:gd name="T38" fmla="*/ 189 w 2320"/>
              <a:gd name="T39" fmla="*/ 1517 h 2694"/>
              <a:gd name="T40" fmla="*/ 189 w 2320"/>
              <a:gd name="T41" fmla="*/ 2365 h 2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20" h="2694">
                <a:moveTo>
                  <a:pt x="189" y="329"/>
                </a:moveTo>
                <a:lnTo>
                  <a:pt x="189" y="1175"/>
                </a:lnTo>
                <a:lnTo>
                  <a:pt x="0" y="1175"/>
                </a:lnTo>
                <a:lnTo>
                  <a:pt x="0" y="0"/>
                </a:lnTo>
                <a:lnTo>
                  <a:pt x="1026" y="596"/>
                </a:lnTo>
                <a:lnTo>
                  <a:pt x="932" y="761"/>
                </a:lnTo>
                <a:lnTo>
                  <a:pt x="189" y="329"/>
                </a:lnTo>
                <a:close/>
                <a:moveTo>
                  <a:pt x="1225" y="1763"/>
                </a:moveTo>
                <a:lnTo>
                  <a:pt x="1941" y="1346"/>
                </a:lnTo>
                <a:lnTo>
                  <a:pt x="1225" y="932"/>
                </a:lnTo>
                <a:lnTo>
                  <a:pt x="1321" y="767"/>
                </a:lnTo>
                <a:lnTo>
                  <a:pt x="2320" y="1346"/>
                </a:lnTo>
                <a:lnTo>
                  <a:pt x="1321" y="1927"/>
                </a:lnTo>
                <a:lnTo>
                  <a:pt x="1225" y="1763"/>
                </a:lnTo>
                <a:close/>
                <a:moveTo>
                  <a:pt x="189" y="2365"/>
                </a:moveTo>
                <a:lnTo>
                  <a:pt x="932" y="1934"/>
                </a:lnTo>
                <a:lnTo>
                  <a:pt x="1026" y="2098"/>
                </a:lnTo>
                <a:lnTo>
                  <a:pt x="0" y="2694"/>
                </a:lnTo>
                <a:lnTo>
                  <a:pt x="0" y="1517"/>
                </a:lnTo>
                <a:lnTo>
                  <a:pt x="189" y="1517"/>
                </a:lnTo>
                <a:lnTo>
                  <a:pt x="189" y="2365"/>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8" name="Group 10">
            <a:extLst>
              <a:ext uri="{FF2B5EF4-FFF2-40B4-BE49-F238E27FC236}">
                <a16:creationId xmlns:a16="http://schemas.microsoft.com/office/drawing/2014/main" id="{6BAC5E67-1317-4EE8-B1B8-5EC2C2697DA8}"/>
              </a:ext>
            </a:extLst>
          </p:cNvPr>
          <p:cNvGrpSpPr>
            <a:grpSpLocks noChangeAspect="1"/>
          </p:cNvGrpSpPr>
          <p:nvPr/>
        </p:nvGrpSpPr>
        <p:grpSpPr bwMode="auto">
          <a:xfrm>
            <a:off x="7368807" y="4204025"/>
            <a:ext cx="706678" cy="497172"/>
            <a:chOff x="-1" y="4"/>
            <a:chExt cx="2830" cy="1991"/>
          </a:xfrm>
          <a:solidFill>
            <a:srgbClr val="047CDA"/>
          </a:solidFill>
        </p:grpSpPr>
        <p:sp>
          <p:nvSpPr>
            <p:cNvPr id="79" name="Freeform 11">
              <a:extLst>
                <a:ext uri="{FF2B5EF4-FFF2-40B4-BE49-F238E27FC236}">
                  <a16:creationId xmlns:a16="http://schemas.microsoft.com/office/drawing/2014/main" id="{A3E293B9-C378-4BDF-812F-13371A0D10C2}"/>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2">
              <a:extLst>
                <a:ext uri="{FF2B5EF4-FFF2-40B4-BE49-F238E27FC236}">
                  <a16:creationId xmlns:a16="http://schemas.microsoft.com/office/drawing/2014/main" id="{C255B86E-A36B-4B16-9AE9-3F0BE5470635}"/>
                </a:ext>
              </a:extLst>
            </p:cNvPr>
            <p:cNvSpPr>
              <a:spLocks noEditPoints="1"/>
            </p:cNvSpPr>
            <p:nvPr/>
          </p:nvSpPr>
          <p:spPr bwMode="auto">
            <a:xfrm>
              <a:off x="945" y="525"/>
              <a:ext cx="948" cy="951"/>
            </a:xfrm>
            <a:custGeom>
              <a:avLst/>
              <a:gdLst>
                <a:gd name="T0" fmla="*/ 228 w 456"/>
                <a:gd name="T1" fmla="*/ 319 h 456"/>
                <a:gd name="T2" fmla="*/ 137 w 456"/>
                <a:gd name="T3" fmla="*/ 228 h 456"/>
                <a:gd name="T4" fmla="*/ 228 w 456"/>
                <a:gd name="T5" fmla="*/ 137 h 456"/>
                <a:gd name="T6" fmla="*/ 319 w 456"/>
                <a:gd name="T7" fmla="*/ 228 h 456"/>
                <a:gd name="T8" fmla="*/ 228 w 456"/>
                <a:gd name="T9" fmla="*/ 319 h 456"/>
                <a:gd name="T10" fmla="*/ 400 w 456"/>
                <a:gd name="T11" fmla="*/ 180 h 456"/>
                <a:gd name="T12" fmla="*/ 383 w 456"/>
                <a:gd name="T13" fmla="*/ 140 h 456"/>
                <a:gd name="T14" fmla="*/ 411 w 456"/>
                <a:gd name="T15" fmla="*/ 90 h 456"/>
                <a:gd name="T16" fmla="*/ 366 w 456"/>
                <a:gd name="T17" fmla="*/ 45 h 456"/>
                <a:gd name="T18" fmla="*/ 316 w 456"/>
                <a:gd name="T19" fmla="*/ 73 h 456"/>
                <a:gd name="T20" fmla="*/ 276 w 456"/>
                <a:gd name="T21" fmla="*/ 56 h 456"/>
                <a:gd name="T22" fmla="*/ 260 w 456"/>
                <a:gd name="T23" fmla="*/ 0 h 456"/>
                <a:gd name="T24" fmla="*/ 196 w 456"/>
                <a:gd name="T25" fmla="*/ 0 h 456"/>
                <a:gd name="T26" fmla="*/ 180 w 456"/>
                <a:gd name="T27" fmla="*/ 56 h 456"/>
                <a:gd name="T28" fmla="*/ 140 w 456"/>
                <a:gd name="T29" fmla="*/ 73 h 456"/>
                <a:gd name="T30" fmla="*/ 90 w 456"/>
                <a:gd name="T31" fmla="*/ 45 h 456"/>
                <a:gd name="T32" fmla="*/ 45 w 456"/>
                <a:gd name="T33" fmla="*/ 90 h 456"/>
                <a:gd name="T34" fmla="*/ 73 w 456"/>
                <a:gd name="T35" fmla="*/ 140 h 456"/>
                <a:gd name="T36" fmla="*/ 56 w 456"/>
                <a:gd name="T37" fmla="*/ 180 h 456"/>
                <a:gd name="T38" fmla="*/ 0 w 456"/>
                <a:gd name="T39" fmla="*/ 196 h 456"/>
                <a:gd name="T40" fmla="*/ 0 w 456"/>
                <a:gd name="T41" fmla="*/ 260 h 456"/>
                <a:gd name="T42" fmla="*/ 56 w 456"/>
                <a:gd name="T43" fmla="*/ 276 h 456"/>
                <a:gd name="T44" fmla="*/ 73 w 456"/>
                <a:gd name="T45" fmla="*/ 316 h 456"/>
                <a:gd name="T46" fmla="*/ 45 w 456"/>
                <a:gd name="T47" fmla="*/ 366 h 456"/>
                <a:gd name="T48" fmla="*/ 90 w 456"/>
                <a:gd name="T49" fmla="*/ 411 h 456"/>
                <a:gd name="T50" fmla="*/ 140 w 456"/>
                <a:gd name="T51" fmla="*/ 383 h 456"/>
                <a:gd name="T52" fmla="*/ 180 w 456"/>
                <a:gd name="T53" fmla="*/ 400 h 456"/>
                <a:gd name="T54" fmla="*/ 196 w 456"/>
                <a:gd name="T55" fmla="*/ 456 h 456"/>
                <a:gd name="T56" fmla="*/ 260 w 456"/>
                <a:gd name="T57" fmla="*/ 456 h 456"/>
                <a:gd name="T58" fmla="*/ 276 w 456"/>
                <a:gd name="T59" fmla="*/ 400 h 456"/>
                <a:gd name="T60" fmla="*/ 316 w 456"/>
                <a:gd name="T61" fmla="*/ 383 h 456"/>
                <a:gd name="T62" fmla="*/ 366 w 456"/>
                <a:gd name="T63" fmla="*/ 411 h 456"/>
                <a:gd name="T64" fmla="*/ 411 w 456"/>
                <a:gd name="T65" fmla="*/ 366 h 456"/>
                <a:gd name="T66" fmla="*/ 383 w 456"/>
                <a:gd name="T67" fmla="*/ 316 h 456"/>
                <a:gd name="T68" fmla="*/ 400 w 456"/>
                <a:gd name="T69" fmla="*/ 276 h 456"/>
                <a:gd name="T70" fmla="*/ 456 w 456"/>
                <a:gd name="T71" fmla="*/ 260 h 456"/>
                <a:gd name="T72" fmla="*/ 456 w 456"/>
                <a:gd name="T73" fmla="*/ 196 h 456"/>
                <a:gd name="T74" fmla="*/ 400 w 456"/>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6" h="456">
                  <a:moveTo>
                    <a:pt x="228" y="319"/>
                  </a:moveTo>
                  <a:cubicBezTo>
                    <a:pt x="178" y="319"/>
                    <a:pt x="137" y="278"/>
                    <a:pt x="137" y="228"/>
                  </a:cubicBezTo>
                  <a:cubicBezTo>
                    <a:pt x="137" y="178"/>
                    <a:pt x="178" y="137"/>
                    <a:pt x="228" y="137"/>
                  </a:cubicBezTo>
                  <a:cubicBezTo>
                    <a:pt x="278" y="137"/>
                    <a:pt x="319" y="178"/>
                    <a:pt x="319" y="228"/>
                  </a:cubicBezTo>
                  <a:cubicBezTo>
                    <a:pt x="319" y="278"/>
                    <a:pt x="278" y="319"/>
                    <a:pt x="228" y="319"/>
                  </a:cubicBezTo>
                  <a:close/>
                  <a:moveTo>
                    <a:pt x="400" y="180"/>
                  </a:moveTo>
                  <a:cubicBezTo>
                    <a:pt x="396" y="166"/>
                    <a:pt x="391" y="152"/>
                    <a:pt x="383" y="140"/>
                  </a:cubicBezTo>
                  <a:cubicBezTo>
                    <a:pt x="411" y="90"/>
                    <a:pt x="411" y="90"/>
                    <a:pt x="411" y="90"/>
                  </a:cubicBezTo>
                  <a:cubicBezTo>
                    <a:pt x="366" y="45"/>
                    <a:pt x="366" y="45"/>
                    <a:pt x="366" y="45"/>
                  </a:cubicBezTo>
                  <a:cubicBezTo>
                    <a:pt x="316" y="73"/>
                    <a:pt x="316" y="73"/>
                    <a:pt x="316" y="73"/>
                  </a:cubicBezTo>
                  <a:cubicBezTo>
                    <a:pt x="304" y="65"/>
                    <a:pt x="290" y="60"/>
                    <a:pt x="276" y="56"/>
                  </a:cubicBezTo>
                  <a:cubicBezTo>
                    <a:pt x="260" y="0"/>
                    <a:pt x="260" y="0"/>
                    <a:pt x="260" y="0"/>
                  </a:cubicBezTo>
                  <a:cubicBezTo>
                    <a:pt x="196" y="0"/>
                    <a:pt x="196" y="0"/>
                    <a:pt x="196" y="0"/>
                  </a:cubicBezTo>
                  <a:cubicBezTo>
                    <a:pt x="180" y="56"/>
                    <a:pt x="180" y="56"/>
                    <a:pt x="180" y="56"/>
                  </a:cubicBezTo>
                  <a:cubicBezTo>
                    <a:pt x="166" y="60"/>
                    <a:pt x="152" y="65"/>
                    <a:pt x="140" y="73"/>
                  </a:cubicBezTo>
                  <a:cubicBezTo>
                    <a:pt x="90" y="45"/>
                    <a:pt x="90" y="45"/>
                    <a:pt x="90" y="45"/>
                  </a:cubicBezTo>
                  <a:cubicBezTo>
                    <a:pt x="45" y="90"/>
                    <a:pt x="45" y="90"/>
                    <a:pt x="45" y="90"/>
                  </a:cubicBezTo>
                  <a:cubicBezTo>
                    <a:pt x="73" y="140"/>
                    <a:pt x="73" y="140"/>
                    <a:pt x="73" y="140"/>
                  </a:cubicBezTo>
                  <a:cubicBezTo>
                    <a:pt x="65" y="152"/>
                    <a:pt x="60" y="166"/>
                    <a:pt x="56" y="180"/>
                  </a:cubicBezTo>
                  <a:cubicBezTo>
                    <a:pt x="0" y="196"/>
                    <a:pt x="0" y="196"/>
                    <a:pt x="0" y="196"/>
                  </a:cubicBezTo>
                  <a:cubicBezTo>
                    <a:pt x="0" y="260"/>
                    <a:pt x="0" y="260"/>
                    <a:pt x="0" y="260"/>
                  </a:cubicBezTo>
                  <a:cubicBezTo>
                    <a:pt x="56" y="276"/>
                    <a:pt x="56" y="276"/>
                    <a:pt x="56" y="276"/>
                  </a:cubicBezTo>
                  <a:cubicBezTo>
                    <a:pt x="60" y="290"/>
                    <a:pt x="65" y="304"/>
                    <a:pt x="73" y="316"/>
                  </a:cubicBezTo>
                  <a:cubicBezTo>
                    <a:pt x="45" y="366"/>
                    <a:pt x="45" y="366"/>
                    <a:pt x="45" y="366"/>
                  </a:cubicBezTo>
                  <a:cubicBezTo>
                    <a:pt x="90" y="411"/>
                    <a:pt x="90" y="411"/>
                    <a:pt x="90" y="411"/>
                  </a:cubicBezTo>
                  <a:cubicBezTo>
                    <a:pt x="140" y="383"/>
                    <a:pt x="140" y="383"/>
                    <a:pt x="140" y="383"/>
                  </a:cubicBezTo>
                  <a:cubicBezTo>
                    <a:pt x="152" y="391"/>
                    <a:pt x="166" y="396"/>
                    <a:pt x="180" y="400"/>
                  </a:cubicBezTo>
                  <a:cubicBezTo>
                    <a:pt x="196" y="456"/>
                    <a:pt x="196" y="456"/>
                    <a:pt x="196" y="456"/>
                  </a:cubicBezTo>
                  <a:cubicBezTo>
                    <a:pt x="260" y="456"/>
                    <a:pt x="260" y="456"/>
                    <a:pt x="260" y="456"/>
                  </a:cubicBezTo>
                  <a:cubicBezTo>
                    <a:pt x="276" y="400"/>
                    <a:pt x="276" y="400"/>
                    <a:pt x="276" y="400"/>
                  </a:cubicBezTo>
                  <a:cubicBezTo>
                    <a:pt x="290" y="396"/>
                    <a:pt x="304" y="391"/>
                    <a:pt x="316" y="383"/>
                  </a:cubicBezTo>
                  <a:cubicBezTo>
                    <a:pt x="366" y="411"/>
                    <a:pt x="366" y="411"/>
                    <a:pt x="366" y="411"/>
                  </a:cubicBezTo>
                  <a:cubicBezTo>
                    <a:pt x="411" y="366"/>
                    <a:pt x="411" y="366"/>
                    <a:pt x="411" y="366"/>
                  </a:cubicBezTo>
                  <a:cubicBezTo>
                    <a:pt x="383" y="316"/>
                    <a:pt x="383" y="316"/>
                    <a:pt x="383" y="316"/>
                  </a:cubicBezTo>
                  <a:cubicBezTo>
                    <a:pt x="391" y="304"/>
                    <a:pt x="396" y="290"/>
                    <a:pt x="400" y="276"/>
                  </a:cubicBezTo>
                  <a:cubicBezTo>
                    <a:pt x="456" y="260"/>
                    <a:pt x="456" y="260"/>
                    <a:pt x="456" y="260"/>
                  </a:cubicBezTo>
                  <a:cubicBezTo>
                    <a:pt x="456" y="196"/>
                    <a:pt x="456" y="196"/>
                    <a:pt x="456"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1" name="Group 4">
            <a:extLst>
              <a:ext uri="{FF2B5EF4-FFF2-40B4-BE49-F238E27FC236}">
                <a16:creationId xmlns:a16="http://schemas.microsoft.com/office/drawing/2014/main" id="{6709BAFE-56BD-40BB-84F4-EF86AB758AF3}"/>
              </a:ext>
            </a:extLst>
          </p:cNvPr>
          <p:cNvGrpSpPr>
            <a:grpSpLocks noChangeAspect="1"/>
          </p:cNvGrpSpPr>
          <p:nvPr/>
        </p:nvGrpSpPr>
        <p:grpSpPr bwMode="auto">
          <a:xfrm>
            <a:off x="4159558" y="4137703"/>
            <a:ext cx="607377" cy="629817"/>
            <a:chOff x="-2" y="4"/>
            <a:chExt cx="2463" cy="2554"/>
          </a:xfrm>
          <a:solidFill>
            <a:srgbClr val="047CDA"/>
          </a:solidFill>
        </p:grpSpPr>
        <p:sp>
          <p:nvSpPr>
            <p:cNvPr id="82" name="Freeform 5">
              <a:extLst>
                <a:ext uri="{FF2B5EF4-FFF2-40B4-BE49-F238E27FC236}">
                  <a16:creationId xmlns:a16="http://schemas.microsoft.com/office/drawing/2014/main" id="{92ED5837-BD16-40AA-8663-841BCB44913B}"/>
                </a:ext>
              </a:extLst>
            </p:cNvPr>
            <p:cNvSpPr>
              <a:spLocks noEditPoints="1"/>
            </p:cNvSpPr>
            <p:nvPr/>
          </p:nvSpPr>
          <p:spPr bwMode="auto">
            <a:xfrm>
              <a:off x="-2" y="4"/>
              <a:ext cx="2463" cy="2554"/>
            </a:xfrm>
            <a:custGeom>
              <a:avLst/>
              <a:gdLst>
                <a:gd name="T0" fmla="*/ 1093 w 1184"/>
                <a:gd name="T1" fmla="*/ 507 h 1226"/>
                <a:gd name="T2" fmla="*/ 592 w 1184"/>
                <a:gd name="T3" fmla="*/ 1133 h 1226"/>
                <a:gd name="T4" fmla="*/ 91 w 1184"/>
                <a:gd name="T5" fmla="*/ 507 h 1226"/>
                <a:gd name="T6" fmla="*/ 91 w 1184"/>
                <a:gd name="T7" fmla="*/ 249 h 1226"/>
                <a:gd name="T8" fmla="*/ 106 w 1184"/>
                <a:gd name="T9" fmla="*/ 236 h 1226"/>
                <a:gd name="T10" fmla="*/ 196 w 1184"/>
                <a:gd name="T11" fmla="*/ 178 h 1226"/>
                <a:gd name="T12" fmla="*/ 592 w 1184"/>
                <a:gd name="T13" fmla="*/ 90 h 1226"/>
                <a:gd name="T14" fmla="*/ 988 w 1184"/>
                <a:gd name="T15" fmla="*/ 178 h 1226"/>
                <a:gd name="T16" fmla="*/ 1078 w 1184"/>
                <a:gd name="T17" fmla="*/ 236 h 1226"/>
                <a:gd name="T18" fmla="*/ 1093 w 1184"/>
                <a:gd name="T19" fmla="*/ 249 h 1226"/>
                <a:gd name="T20" fmla="*/ 1093 w 1184"/>
                <a:gd name="T21" fmla="*/ 507 h 1226"/>
                <a:gd name="T22" fmla="*/ 1172 w 1184"/>
                <a:gd name="T23" fmla="*/ 201 h 1226"/>
                <a:gd name="T24" fmla="*/ 1136 w 1184"/>
                <a:gd name="T25" fmla="*/ 166 h 1226"/>
                <a:gd name="T26" fmla="*/ 1031 w 1184"/>
                <a:gd name="T27" fmla="*/ 97 h 1226"/>
                <a:gd name="T28" fmla="*/ 592 w 1184"/>
                <a:gd name="T29" fmla="*/ 0 h 1226"/>
                <a:gd name="T30" fmla="*/ 153 w 1184"/>
                <a:gd name="T31" fmla="*/ 97 h 1226"/>
                <a:gd name="T32" fmla="*/ 48 w 1184"/>
                <a:gd name="T33" fmla="*/ 166 h 1226"/>
                <a:gd name="T34" fmla="*/ 12 w 1184"/>
                <a:gd name="T35" fmla="*/ 201 h 1226"/>
                <a:gd name="T36" fmla="*/ 0 w 1184"/>
                <a:gd name="T37" fmla="*/ 213 h 1226"/>
                <a:gd name="T38" fmla="*/ 0 w 1184"/>
                <a:gd name="T39" fmla="*/ 507 h 1226"/>
                <a:gd name="T40" fmla="*/ 584 w 1184"/>
                <a:gd name="T41" fmla="*/ 1224 h 1226"/>
                <a:gd name="T42" fmla="*/ 592 w 1184"/>
                <a:gd name="T43" fmla="*/ 1226 h 1226"/>
                <a:gd name="T44" fmla="*/ 600 w 1184"/>
                <a:gd name="T45" fmla="*/ 1224 h 1226"/>
                <a:gd name="T46" fmla="*/ 1184 w 1184"/>
                <a:gd name="T47" fmla="*/ 507 h 1226"/>
                <a:gd name="T48" fmla="*/ 1184 w 1184"/>
                <a:gd name="T49" fmla="*/ 213 h 1226"/>
                <a:gd name="T50" fmla="*/ 1172 w 1184"/>
                <a:gd name="T51" fmla="*/ 201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84" h="1226">
                  <a:moveTo>
                    <a:pt x="1093" y="507"/>
                  </a:moveTo>
                  <a:cubicBezTo>
                    <a:pt x="1093" y="764"/>
                    <a:pt x="857" y="1078"/>
                    <a:pt x="592" y="1133"/>
                  </a:cubicBezTo>
                  <a:cubicBezTo>
                    <a:pt x="327" y="1078"/>
                    <a:pt x="91" y="764"/>
                    <a:pt x="91" y="507"/>
                  </a:cubicBezTo>
                  <a:cubicBezTo>
                    <a:pt x="91" y="249"/>
                    <a:pt x="91" y="249"/>
                    <a:pt x="91" y="249"/>
                  </a:cubicBezTo>
                  <a:cubicBezTo>
                    <a:pt x="95" y="245"/>
                    <a:pt x="100" y="241"/>
                    <a:pt x="106" y="236"/>
                  </a:cubicBezTo>
                  <a:cubicBezTo>
                    <a:pt x="130" y="217"/>
                    <a:pt x="160" y="197"/>
                    <a:pt x="196" y="178"/>
                  </a:cubicBezTo>
                  <a:cubicBezTo>
                    <a:pt x="300" y="123"/>
                    <a:pt x="431" y="90"/>
                    <a:pt x="592" y="90"/>
                  </a:cubicBezTo>
                  <a:cubicBezTo>
                    <a:pt x="753" y="90"/>
                    <a:pt x="884" y="123"/>
                    <a:pt x="988" y="178"/>
                  </a:cubicBezTo>
                  <a:cubicBezTo>
                    <a:pt x="1024" y="197"/>
                    <a:pt x="1054" y="217"/>
                    <a:pt x="1078" y="236"/>
                  </a:cubicBezTo>
                  <a:cubicBezTo>
                    <a:pt x="1084" y="241"/>
                    <a:pt x="1089" y="245"/>
                    <a:pt x="1093" y="249"/>
                  </a:cubicBezTo>
                  <a:lnTo>
                    <a:pt x="1093" y="507"/>
                  </a:lnTo>
                  <a:close/>
                  <a:moveTo>
                    <a:pt x="1172" y="201"/>
                  </a:moveTo>
                  <a:cubicBezTo>
                    <a:pt x="1166" y="193"/>
                    <a:pt x="1154" y="181"/>
                    <a:pt x="1136" y="166"/>
                  </a:cubicBezTo>
                  <a:cubicBezTo>
                    <a:pt x="1107" y="143"/>
                    <a:pt x="1072" y="119"/>
                    <a:pt x="1031" y="97"/>
                  </a:cubicBezTo>
                  <a:cubicBezTo>
                    <a:pt x="914" y="36"/>
                    <a:pt x="768" y="0"/>
                    <a:pt x="592" y="0"/>
                  </a:cubicBezTo>
                  <a:cubicBezTo>
                    <a:pt x="416" y="0"/>
                    <a:pt x="270" y="36"/>
                    <a:pt x="153" y="97"/>
                  </a:cubicBezTo>
                  <a:cubicBezTo>
                    <a:pt x="112" y="119"/>
                    <a:pt x="77" y="143"/>
                    <a:pt x="48" y="166"/>
                  </a:cubicBezTo>
                  <a:cubicBezTo>
                    <a:pt x="30" y="181"/>
                    <a:pt x="18" y="193"/>
                    <a:pt x="12" y="201"/>
                  </a:cubicBezTo>
                  <a:cubicBezTo>
                    <a:pt x="0" y="213"/>
                    <a:pt x="0" y="213"/>
                    <a:pt x="0" y="213"/>
                  </a:cubicBezTo>
                  <a:cubicBezTo>
                    <a:pt x="0" y="507"/>
                    <a:pt x="0" y="507"/>
                    <a:pt x="0" y="507"/>
                  </a:cubicBezTo>
                  <a:cubicBezTo>
                    <a:pt x="0" y="809"/>
                    <a:pt x="270" y="1166"/>
                    <a:pt x="584" y="1224"/>
                  </a:cubicBezTo>
                  <a:cubicBezTo>
                    <a:pt x="592" y="1226"/>
                    <a:pt x="592" y="1226"/>
                    <a:pt x="592" y="1226"/>
                  </a:cubicBezTo>
                  <a:cubicBezTo>
                    <a:pt x="600" y="1224"/>
                    <a:pt x="600" y="1224"/>
                    <a:pt x="600" y="1224"/>
                  </a:cubicBezTo>
                  <a:cubicBezTo>
                    <a:pt x="914" y="1166"/>
                    <a:pt x="1184" y="809"/>
                    <a:pt x="1184" y="507"/>
                  </a:cubicBezTo>
                  <a:cubicBezTo>
                    <a:pt x="1184" y="213"/>
                    <a:pt x="1184" y="213"/>
                    <a:pt x="1184" y="213"/>
                  </a:cubicBezTo>
                  <a:lnTo>
                    <a:pt x="1172"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
              <a:extLst>
                <a:ext uri="{FF2B5EF4-FFF2-40B4-BE49-F238E27FC236}">
                  <a16:creationId xmlns:a16="http://schemas.microsoft.com/office/drawing/2014/main" id="{0BAF937B-8F89-4A23-9B50-ACB72BCB8033}"/>
                </a:ext>
              </a:extLst>
            </p:cNvPr>
            <p:cNvSpPr>
              <a:spLocks/>
            </p:cNvSpPr>
            <p:nvPr/>
          </p:nvSpPr>
          <p:spPr bwMode="auto">
            <a:xfrm>
              <a:off x="1063" y="1710"/>
              <a:ext cx="333" cy="331"/>
            </a:xfrm>
            <a:custGeom>
              <a:avLst/>
              <a:gdLst>
                <a:gd name="T0" fmla="*/ 80 w 160"/>
                <a:gd name="T1" fmla="*/ 0 h 159"/>
                <a:gd name="T2" fmla="*/ 23 w 160"/>
                <a:gd name="T3" fmla="*/ 22 h 159"/>
                <a:gd name="T4" fmla="*/ 0 w 160"/>
                <a:gd name="T5" fmla="*/ 79 h 159"/>
                <a:gd name="T6" fmla="*/ 23 w 160"/>
                <a:gd name="T7" fmla="*/ 136 h 159"/>
                <a:gd name="T8" fmla="*/ 80 w 160"/>
                <a:gd name="T9" fmla="*/ 159 h 159"/>
                <a:gd name="T10" fmla="*/ 138 w 160"/>
                <a:gd name="T11" fmla="*/ 136 h 159"/>
                <a:gd name="T12" fmla="*/ 160 w 160"/>
                <a:gd name="T13" fmla="*/ 79 h 159"/>
                <a:gd name="T14" fmla="*/ 137 w 160"/>
                <a:gd name="T15" fmla="*/ 22 h 159"/>
                <a:gd name="T16" fmla="*/ 80 w 160"/>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59">
                  <a:moveTo>
                    <a:pt x="80" y="0"/>
                  </a:moveTo>
                  <a:cubicBezTo>
                    <a:pt x="58" y="0"/>
                    <a:pt x="39" y="7"/>
                    <a:pt x="23" y="22"/>
                  </a:cubicBezTo>
                  <a:cubicBezTo>
                    <a:pt x="8" y="37"/>
                    <a:pt x="0" y="56"/>
                    <a:pt x="0" y="79"/>
                  </a:cubicBezTo>
                  <a:cubicBezTo>
                    <a:pt x="0" y="101"/>
                    <a:pt x="8" y="120"/>
                    <a:pt x="23" y="136"/>
                  </a:cubicBezTo>
                  <a:cubicBezTo>
                    <a:pt x="38" y="151"/>
                    <a:pt x="57" y="159"/>
                    <a:pt x="80" y="159"/>
                  </a:cubicBezTo>
                  <a:cubicBezTo>
                    <a:pt x="103" y="159"/>
                    <a:pt x="123" y="151"/>
                    <a:pt x="138" y="136"/>
                  </a:cubicBezTo>
                  <a:cubicBezTo>
                    <a:pt x="152" y="121"/>
                    <a:pt x="160" y="102"/>
                    <a:pt x="160" y="79"/>
                  </a:cubicBezTo>
                  <a:cubicBezTo>
                    <a:pt x="160" y="57"/>
                    <a:pt x="152" y="37"/>
                    <a:pt x="137" y="22"/>
                  </a:cubicBezTo>
                  <a:cubicBezTo>
                    <a:pt x="122" y="7"/>
                    <a:pt x="103" y="0"/>
                    <a:pt x="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7">
              <a:extLst>
                <a:ext uri="{FF2B5EF4-FFF2-40B4-BE49-F238E27FC236}">
                  <a16:creationId xmlns:a16="http://schemas.microsoft.com/office/drawing/2014/main" id="{3DC33496-B79A-4472-901E-B532FD76D959}"/>
                </a:ext>
              </a:extLst>
            </p:cNvPr>
            <p:cNvSpPr>
              <a:spLocks noChangeArrowheads="1"/>
            </p:cNvSpPr>
            <p:nvPr/>
          </p:nvSpPr>
          <p:spPr bwMode="auto">
            <a:xfrm>
              <a:off x="1134" y="429"/>
              <a:ext cx="191" cy="1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2">
            <a:extLst>
              <a:ext uri="{FF2B5EF4-FFF2-40B4-BE49-F238E27FC236}">
                <a16:creationId xmlns:a16="http://schemas.microsoft.com/office/drawing/2014/main" id="{7F8E01D2-84DA-4CA7-8004-0AF89B72C716}"/>
              </a:ext>
            </a:extLst>
          </p:cNvPr>
          <p:cNvGrpSpPr/>
          <p:nvPr/>
        </p:nvGrpSpPr>
        <p:grpSpPr>
          <a:xfrm>
            <a:off x="1" y="253599"/>
            <a:ext cx="1188839" cy="956984"/>
            <a:chOff x="1" y="253599"/>
            <a:chExt cx="1188839" cy="956984"/>
          </a:xfrm>
        </p:grpSpPr>
        <p:sp>
          <p:nvSpPr>
            <p:cNvPr id="36" name="Rectangle 35">
              <a:extLst>
                <a:ext uri="{FF2B5EF4-FFF2-40B4-BE49-F238E27FC236}">
                  <a16:creationId xmlns:a16="http://schemas.microsoft.com/office/drawing/2014/main" id="{7A07E0C7-8323-4D86-8EA3-D58420A83DBE}"/>
                </a:ext>
              </a:extLst>
            </p:cNvPr>
            <p:cNvSpPr/>
            <p:nvPr/>
          </p:nvSpPr>
          <p:spPr bwMode="auto">
            <a:xfrm>
              <a:off x="1" y="253599"/>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5" name="Group 35">
              <a:extLst>
                <a:ext uri="{FF2B5EF4-FFF2-40B4-BE49-F238E27FC236}">
                  <a16:creationId xmlns:a16="http://schemas.microsoft.com/office/drawing/2014/main" id="{C61A27E8-D390-4B8E-BBE2-84608E5AC657}"/>
                </a:ext>
              </a:extLst>
            </p:cNvPr>
            <p:cNvGrpSpPr>
              <a:grpSpLocks noChangeAspect="1"/>
            </p:cNvGrpSpPr>
            <p:nvPr/>
          </p:nvGrpSpPr>
          <p:grpSpPr bwMode="auto">
            <a:xfrm>
              <a:off x="269603" y="508238"/>
              <a:ext cx="648049" cy="455925"/>
              <a:chOff x="-1" y="4"/>
              <a:chExt cx="2830" cy="1991"/>
            </a:xfrm>
            <a:solidFill>
              <a:schemeClr val="bg2"/>
            </a:solidFill>
          </p:grpSpPr>
          <p:sp>
            <p:nvSpPr>
              <p:cNvPr id="46" name="Freeform 36">
                <a:extLst>
                  <a:ext uri="{FF2B5EF4-FFF2-40B4-BE49-F238E27FC236}">
                    <a16:creationId xmlns:a16="http://schemas.microsoft.com/office/drawing/2014/main" id="{A20C3F53-6C32-4E23-9DEB-C429230FBEED}"/>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37">
                <a:extLst>
                  <a:ext uri="{FF2B5EF4-FFF2-40B4-BE49-F238E27FC236}">
                    <a16:creationId xmlns:a16="http://schemas.microsoft.com/office/drawing/2014/main" id="{8ABA5B8B-34C8-4641-AAB3-9C702963DC56}"/>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57567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63" presetClass="path" presetSubtype="0" decel="100000" fill="hold" nodeType="withEffect">
                                  <p:stCondLst>
                                    <p:cond delay="0"/>
                                  </p:stCondLst>
                                  <p:childTnLst>
                                    <p:animMotion origin="layout" path="M -0.02617 -7.40741E-7 L -3.125E-6 -7.40741E-7 " pathEditMode="relative" rAng="0" ptsTypes="AA">
                                      <p:cBhvr>
                                        <p:cTn id="9" dur="500" fill="hold"/>
                                        <p:tgtEl>
                                          <p:spTgt spid="3"/>
                                        </p:tgtEl>
                                        <p:attrNameLst>
                                          <p:attrName>ppt_x</p:attrName>
                                          <p:attrName>ppt_y</p:attrName>
                                        </p:attrNameLst>
                                      </p:cBhvr>
                                      <p:rCtr x="1302" y="0"/>
                                    </p:animMotion>
                                  </p:childTnLst>
                                </p:cTn>
                              </p:par>
                              <p:par>
                                <p:cTn id="10" presetID="10" presetClass="entr" presetSubtype="0" fill="hold" grpId="0" nodeType="with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500"/>
                                        <p:tgtEl>
                                          <p:spTgt spid="44"/>
                                        </p:tgtEl>
                                      </p:cBhvr>
                                    </p:animEffect>
                                  </p:childTnLst>
                                </p:cTn>
                              </p:par>
                              <p:par>
                                <p:cTn id="13" presetID="63" presetClass="path" presetSubtype="0" decel="100000" fill="hold" grpId="1" nodeType="withEffect">
                                  <p:stCondLst>
                                    <p:cond delay="0"/>
                                  </p:stCondLst>
                                  <p:childTnLst>
                                    <p:animMotion origin="layout" path="M -0.02617 -7.40741E-7 L -3.125E-6 -7.40741E-7 " pathEditMode="relative" rAng="0" ptsTypes="AA">
                                      <p:cBhvr>
                                        <p:cTn id="14" dur="500" fill="hold"/>
                                        <p:tgtEl>
                                          <p:spTgt spid="44"/>
                                        </p:tgtEl>
                                        <p:attrNameLst>
                                          <p:attrName>ppt_x</p:attrName>
                                          <p:attrName>ppt_y</p:attrName>
                                        </p:attrNameLst>
                                      </p:cBhvr>
                                      <p:rCtr x="1302" y="0"/>
                                    </p:animMotion>
                                  </p:childTnLst>
                                </p:cTn>
                              </p:par>
                              <p:par>
                                <p:cTn id="15" presetID="53" presetClass="entr" presetSubtype="16" fill="hold" nodeType="withEffect">
                                  <p:stCondLst>
                                    <p:cond delay="0"/>
                                  </p:stCondLst>
                                  <p:childTnLst>
                                    <p:set>
                                      <p:cBhvr>
                                        <p:cTn id="16" dur="1" fill="hold">
                                          <p:stCondLst>
                                            <p:cond delay="0"/>
                                          </p:stCondLst>
                                        </p:cTn>
                                        <p:tgtEl>
                                          <p:spTgt spid="65"/>
                                        </p:tgtEl>
                                        <p:attrNameLst>
                                          <p:attrName>style.visibility</p:attrName>
                                        </p:attrNameLst>
                                      </p:cBhvr>
                                      <p:to>
                                        <p:strVal val="visible"/>
                                      </p:to>
                                    </p:set>
                                    <p:anim calcmode="lin" valueType="num">
                                      <p:cBhvr>
                                        <p:cTn id="17" dur="500" fill="hold"/>
                                        <p:tgtEl>
                                          <p:spTgt spid="65"/>
                                        </p:tgtEl>
                                        <p:attrNameLst>
                                          <p:attrName>ppt_w</p:attrName>
                                        </p:attrNameLst>
                                      </p:cBhvr>
                                      <p:tavLst>
                                        <p:tav tm="0">
                                          <p:val>
                                            <p:fltVal val="0"/>
                                          </p:val>
                                        </p:tav>
                                        <p:tav tm="100000">
                                          <p:val>
                                            <p:strVal val="#ppt_w"/>
                                          </p:val>
                                        </p:tav>
                                      </p:tavLst>
                                    </p:anim>
                                    <p:anim calcmode="lin" valueType="num">
                                      <p:cBhvr>
                                        <p:cTn id="18" dur="500" fill="hold"/>
                                        <p:tgtEl>
                                          <p:spTgt spid="65"/>
                                        </p:tgtEl>
                                        <p:attrNameLst>
                                          <p:attrName>ppt_h</p:attrName>
                                        </p:attrNameLst>
                                      </p:cBhvr>
                                      <p:tavLst>
                                        <p:tav tm="0">
                                          <p:val>
                                            <p:fltVal val="0"/>
                                          </p:val>
                                        </p:tav>
                                        <p:tav tm="100000">
                                          <p:val>
                                            <p:strVal val="#ppt_h"/>
                                          </p:val>
                                        </p:tav>
                                      </p:tavLst>
                                    </p:anim>
                                    <p:animEffect transition="in" filter="fade">
                                      <p:cBhvr>
                                        <p:cTn id="19" dur="500"/>
                                        <p:tgtEl>
                                          <p:spTgt spid="65"/>
                                        </p:tgtEl>
                                      </p:cBhvr>
                                    </p:animEffect>
                                  </p:childTnLst>
                                </p:cTn>
                              </p:par>
                              <p:par>
                                <p:cTn id="20" presetID="53" presetClass="entr" presetSubtype="16" fill="hold" nodeType="withEffect">
                                  <p:stCondLst>
                                    <p:cond delay="0"/>
                                  </p:stCondLst>
                                  <p:childTnLst>
                                    <p:set>
                                      <p:cBhvr>
                                        <p:cTn id="21" dur="1" fill="hold">
                                          <p:stCondLst>
                                            <p:cond delay="0"/>
                                          </p:stCondLst>
                                        </p:cTn>
                                        <p:tgtEl>
                                          <p:spTgt spid="68"/>
                                        </p:tgtEl>
                                        <p:attrNameLst>
                                          <p:attrName>style.visibility</p:attrName>
                                        </p:attrNameLst>
                                      </p:cBhvr>
                                      <p:to>
                                        <p:strVal val="visible"/>
                                      </p:to>
                                    </p:set>
                                    <p:anim calcmode="lin" valueType="num">
                                      <p:cBhvr>
                                        <p:cTn id="22" dur="500" fill="hold"/>
                                        <p:tgtEl>
                                          <p:spTgt spid="68"/>
                                        </p:tgtEl>
                                        <p:attrNameLst>
                                          <p:attrName>ppt_w</p:attrName>
                                        </p:attrNameLst>
                                      </p:cBhvr>
                                      <p:tavLst>
                                        <p:tav tm="0">
                                          <p:val>
                                            <p:fltVal val="0"/>
                                          </p:val>
                                        </p:tav>
                                        <p:tav tm="100000">
                                          <p:val>
                                            <p:strVal val="#ppt_w"/>
                                          </p:val>
                                        </p:tav>
                                      </p:tavLst>
                                    </p:anim>
                                    <p:anim calcmode="lin" valueType="num">
                                      <p:cBhvr>
                                        <p:cTn id="23" dur="500" fill="hold"/>
                                        <p:tgtEl>
                                          <p:spTgt spid="68"/>
                                        </p:tgtEl>
                                        <p:attrNameLst>
                                          <p:attrName>ppt_h</p:attrName>
                                        </p:attrNameLst>
                                      </p:cBhvr>
                                      <p:tavLst>
                                        <p:tav tm="0">
                                          <p:val>
                                            <p:fltVal val="0"/>
                                          </p:val>
                                        </p:tav>
                                        <p:tav tm="100000">
                                          <p:val>
                                            <p:strVal val="#ppt_h"/>
                                          </p:val>
                                        </p:tav>
                                      </p:tavLst>
                                    </p:anim>
                                    <p:animEffect transition="in" filter="fade">
                                      <p:cBhvr>
                                        <p:cTn id="24" dur="500"/>
                                        <p:tgtEl>
                                          <p:spTgt spid="68"/>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77"/>
                                        </p:tgtEl>
                                        <p:attrNameLst>
                                          <p:attrName>style.visibility</p:attrName>
                                        </p:attrNameLst>
                                      </p:cBhvr>
                                      <p:to>
                                        <p:strVal val="visible"/>
                                      </p:to>
                                    </p:set>
                                    <p:anim calcmode="lin" valueType="num">
                                      <p:cBhvr>
                                        <p:cTn id="27" dur="500" fill="hold"/>
                                        <p:tgtEl>
                                          <p:spTgt spid="77"/>
                                        </p:tgtEl>
                                        <p:attrNameLst>
                                          <p:attrName>ppt_w</p:attrName>
                                        </p:attrNameLst>
                                      </p:cBhvr>
                                      <p:tavLst>
                                        <p:tav tm="0">
                                          <p:val>
                                            <p:fltVal val="0"/>
                                          </p:val>
                                        </p:tav>
                                        <p:tav tm="100000">
                                          <p:val>
                                            <p:strVal val="#ppt_w"/>
                                          </p:val>
                                        </p:tav>
                                      </p:tavLst>
                                    </p:anim>
                                    <p:anim calcmode="lin" valueType="num">
                                      <p:cBhvr>
                                        <p:cTn id="28" dur="500" fill="hold"/>
                                        <p:tgtEl>
                                          <p:spTgt spid="77"/>
                                        </p:tgtEl>
                                        <p:attrNameLst>
                                          <p:attrName>ppt_h</p:attrName>
                                        </p:attrNameLst>
                                      </p:cBhvr>
                                      <p:tavLst>
                                        <p:tav tm="0">
                                          <p:val>
                                            <p:fltVal val="0"/>
                                          </p:val>
                                        </p:tav>
                                        <p:tav tm="100000">
                                          <p:val>
                                            <p:strVal val="#ppt_h"/>
                                          </p:val>
                                        </p:tav>
                                      </p:tavLst>
                                    </p:anim>
                                    <p:animEffect transition="in" filter="fade">
                                      <p:cBhvr>
                                        <p:cTn id="29" dur="500"/>
                                        <p:tgtEl>
                                          <p:spTgt spid="77"/>
                                        </p:tgtEl>
                                      </p:cBhvr>
                                    </p:animEffect>
                                  </p:childTnLst>
                                </p:cTn>
                              </p:par>
                              <p:par>
                                <p:cTn id="30" presetID="53" presetClass="entr" presetSubtype="16" fill="hold" nodeType="withEffect">
                                  <p:stCondLst>
                                    <p:cond delay="0"/>
                                  </p:stCondLst>
                                  <p:childTnLst>
                                    <p:set>
                                      <p:cBhvr>
                                        <p:cTn id="31" dur="1" fill="hold">
                                          <p:stCondLst>
                                            <p:cond delay="0"/>
                                          </p:stCondLst>
                                        </p:cTn>
                                        <p:tgtEl>
                                          <p:spTgt spid="78"/>
                                        </p:tgtEl>
                                        <p:attrNameLst>
                                          <p:attrName>style.visibility</p:attrName>
                                        </p:attrNameLst>
                                      </p:cBhvr>
                                      <p:to>
                                        <p:strVal val="visible"/>
                                      </p:to>
                                    </p:set>
                                    <p:anim calcmode="lin" valueType="num">
                                      <p:cBhvr>
                                        <p:cTn id="32" dur="500" fill="hold"/>
                                        <p:tgtEl>
                                          <p:spTgt spid="78"/>
                                        </p:tgtEl>
                                        <p:attrNameLst>
                                          <p:attrName>ppt_w</p:attrName>
                                        </p:attrNameLst>
                                      </p:cBhvr>
                                      <p:tavLst>
                                        <p:tav tm="0">
                                          <p:val>
                                            <p:fltVal val="0"/>
                                          </p:val>
                                        </p:tav>
                                        <p:tav tm="100000">
                                          <p:val>
                                            <p:strVal val="#ppt_w"/>
                                          </p:val>
                                        </p:tav>
                                      </p:tavLst>
                                    </p:anim>
                                    <p:anim calcmode="lin" valueType="num">
                                      <p:cBhvr>
                                        <p:cTn id="33" dur="500" fill="hold"/>
                                        <p:tgtEl>
                                          <p:spTgt spid="78"/>
                                        </p:tgtEl>
                                        <p:attrNameLst>
                                          <p:attrName>ppt_h</p:attrName>
                                        </p:attrNameLst>
                                      </p:cBhvr>
                                      <p:tavLst>
                                        <p:tav tm="0">
                                          <p:val>
                                            <p:fltVal val="0"/>
                                          </p:val>
                                        </p:tav>
                                        <p:tav tm="100000">
                                          <p:val>
                                            <p:strVal val="#ppt_h"/>
                                          </p:val>
                                        </p:tav>
                                      </p:tavLst>
                                    </p:anim>
                                    <p:animEffect transition="in" filter="fade">
                                      <p:cBhvr>
                                        <p:cTn id="34" dur="500"/>
                                        <p:tgtEl>
                                          <p:spTgt spid="78"/>
                                        </p:tgtEl>
                                      </p:cBhvr>
                                    </p:animEffect>
                                  </p:childTnLst>
                                </p:cTn>
                              </p:par>
                              <p:par>
                                <p:cTn id="35" presetID="53" presetClass="entr" presetSubtype="16" fill="hold" nodeType="withEffect">
                                  <p:stCondLst>
                                    <p:cond delay="0"/>
                                  </p:stCondLst>
                                  <p:childTnLst>
                                    <p:set>
                                      <p:cBhvr>
                                        <p:cTn id="36" dur="1" fill="hold">
                                          <p:stCondLst>
                                            <p:cond delay="0"/>
                                          </p:stCondLst>
                                        </p:cTn>
                                        <p:tgtEl>
                                          <p:spTgt spid="81"/>
                                        </p:tgtEl>
                                        <p:attrNameLst>
                                          <p:attrName>style.visibility</p:attrName>
                                        </p:attrNameLst>
                                      </p:cBhvr>
                                      <p:to>
                                        <p:strVal val="visible"/>
                                      </p:to>
                                    </p:set>
                                    <p:anim calcmode="lin" valueType="num">
                                      <p:cBhvr>
                                        <p:cTn id="37" dur="500" fill="hold"/>
                                        <p:tgtEl>
                                          <p:spTgt spid="81"/>
                                        </p:tgtEl>
                                        <p:attrNameLst>
                                          <p:attrName>ppt_w</p:attrName>
                                        </p:attrNameLst>
                                      </p:cBhvr>
                                      <p:tavLst>
                                        <p:tav tm="0">
                                          <p:val>
                                            <p:fltVal val="0"/>
                                          </p:val>
                                        </p:tav>
                                        <p:tav tm="100000">
                                          <p:val>
                                            <p:strVal val="#ppt_w"/>
                                          </p:val>
                                        </p:tav>
                                      </p:tavLst>
                                    </p:anim>
                                    <p:anim calcmode="lin" valueType="num">
                                      <p:cBhvr>
                                        <p:cTn id="38" dur="500" fill="hold"/>
                                        <p:tgtEl>
                                          <p:spTgt spid="81"/>
                                        </p:tgtEl>
                                        <p:attrNameLst>
                                          <p:attrName>ppt_h</p:attrName>
                                        </p:attrNameLst>
                                      </p:cBhvr>
                                      <p:tavLst>
                                        <p:tav tm="0">
                                          <p:val>
                                            <p:fltVal val="0"/>
                                          </p:val>
                                        </p:tav>
                                        <p:tav tm="100000">
                                          <p:val>
                                            <p:strVal val="#ppt_h"/>
                                          </p:val>
                                        </p:tav>
                                      </p:tavLst>
                                    </p:anim>
                                    <p:animEffect transition="in" filter="fade">
                                      <p:cBhvr>
                                        <p:cTn id="39" dur="500"/>
                                        <p:tgtEl>
                                          <p:spTgt spid="81"/>
                                        </p:tgtEl>
                                      </p:cBhvr>
                                    </p:animEffect>
                                  </p:childTnLst>
                                </p:cTn>
                              </p:par>
                            </p:childTnLst>
                          </p:cTn>
                        </p:par>
                        <p:par>
                          <p:cTn id="40" fill="hold">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6"/>
                                        </p:tgtEl>
                                        <p:attrNameLst>
                                          <p:attrName>style.visibility</p:attrName>
                                        </p:attrNameLst>
                                      </p:cBhvr>
                                      <p:to>
                                        <p:strVal val="visible"/>
                                      </p:to>
                                    </p:set>
                                    <p:animEffect transition="in" filter="fade">
                                      <p:cBhvr>
                                        <p:cTn id="46" dur="500"/>
                                        <p:tgtEl>
                                          <p:spTgt spid="13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5"/>
                                        </p:tgtEl>
                                        <p:attrNameLst>
                                          <p:attrName>style.visibility</p:attrName>
                                        </p:attrNameLst>
                                      </p:cBhvr>
                                      <p:to>
                                        <p:strVal val="visible"/>
                                      </p:to>
                                    </p:set>
                                    <p:animEffect transition="in" filter="fade">
                                      <p:cBhvr>
                                        <p:cTn id="49" dur="500"/>
                                        <p:tgtEl>
                                          <p:spTgt spid="13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27"/>
                                        </p:tgtEl>
                                        <p:attrNameLst>
                                          <p:attrName>style.visibility</p:attrName>
                                        </p:attrNameLst>
                                      </p:cBhvr>
                                      <p:to>
                                        <p:strVal val="visible"/>
                                      </p:to>
                                    </p:set>
                                    <p:animEffect transition="in" filter="fade">
                                      <p:cBhvr>
                                        <p:cTn id="52" dur="500"/>
                                        <p:tgtEl>
                                          <p:spTgt spid="127"/>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7"/>
                                        </p:tgtEl>
                                        <p:attrNameLst>
                                          <p:attrName>style.visibility</p:attrName>
                                        </p:attrNameLst>
                                      </p:cBhvr>
                                      <p:to>
                                        <p:strVal val="visible"/>
                                      </p:to>
                                    </p:set>
                                    <p:animEffect transition="in" filter="fade">
                                      <p:cBhvr>
                                        <p:cTn id="55" dur="500"/>
                                        <p:tgtEl>
                                          <p:spTgt spid="5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0"/>
                                        </p:tgtEl>
                                        <p:attrNameLst>
                                          <p:attrName>style.visibility</p:attrName>
                                        </p:attrNameLst>
                                      </p:cBhvr>
                                      <p:to>
                                        <p:strVal val="visible"/>
                                      </p:to>
                                    </p:set>
                                    <p:animEffect transition="in" filter="fade">
                                      <p:cBhvr>
                                        <p:cTn id="58" dur="500"/>
                                        <p:tgtEl>
                                          <p:spTgt spid="30"/>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58"/>
                                        </p:tgtEl>
                                        <p:attrNameLst>
                                          <p:attrName>style.visibility</p:attrName>
                                        </p:attrNameLst>
                                      </p:cBhvr>
                                      <p:to>
                                        <p:strVal val="visible"/>
                                      </p:to>
                                    </p:set>
                                    <p:animEffect transition="in" filter="fade">
                                      <p:cBhvr>
                                        <p:cTn id="61" dur="500"/>
                                        <p:tgtEl>
                                          <p:spTgt spid="58"/>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9"/>
                                        </p:tgtEl>
                                        <p:attrNameLst>
                                          <p:attrName>style.visibility</p:attrName>
                                        </p:attrNameLst>
                                      </p:cBhvr>
                                      <p:to>
                                        <p:strVal val="visible"/>
                                      </p:to>
                                    </p:set>
                                    <p:animEffect transition="in" filter="fade">
                                      <p:cBhvr>
                                        <p:cTn id="64" dur="500"/>
                                        <p:tgtEl>
                                          <p:spTgt spid="29"/>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9"/>
                                        </p:tgtEl>
                                        <p:attrNameLst>
                                          <p:attrName>style.visibility</p:attrName>
                                        </p:attrNameLst>
                                      </p:cBhvr>
                                      <p:to>
                                        <p:strVal val="visible"/>
                                      </p:to>
                                    </p:set>
                                    <p:animEffect transition="in" filter="fade">
                                      <p:cBhvr>
                                        <p:cTn id="67" dur="500"/>
                                        <p:tgtEl>
                                          <p:spTgt spid="59"/>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
                                        </p:tgtEl>
                                        <p:attrNameLst>
                                          <p:attrName>style.visibility</p:attrName>
                                        </p:attrNameLst>
                                      </p:cBhvr>
                                      <p:to>
                                        <p:strVal val="visible"/>
                                      </p:to>
                                    </p:set>
                                    <p:animEffect transition="in" filter="fade">
                                      <p:cBhvr>
                                        <p:cTn id="7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57" grpId="0"/>
      <p:bldP spid="58" grpId="0"/>
      <p:bldP spid="59" grpId="0"/>
      <p:bldP spid="4" grpId="0"/>
      <p:bldP spid="29" grpId="0"/>
      <p:bldP spid="30" grpId="0"/>
      <p:bldP spid="127" grpId="0"/>
      <p:bldP spid="20" grpId="0"/>
      <p:bldP spid="135" grpId="0"/>
      <p:bldP spid="136" grpId="0"/>
      <p:bldP spid="7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44" ma:contentTypeDescription="" ma:contentTypeScope="" ma:versionID="9e189ebee5e4172a11395060ad983007">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671bfb0d0766fb2398015e85ffed677d"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xsd:element ref="ns2:Owner" minOccurs="0"/>
                <xsd:element ref="ns2:OwnersManager"/>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Coowner" minOccurs="0"/>
                <xsd:element ref="ns2:ParentID1" minOccurs="0"/>
                <xsd:element ref="ns4:dkll" minOccurs="0"/>
                <xsd:element ref="ns4:Update_x0020_Expiration_x0020_Date_x0020_For_x0020_Docset" minOccurs="0"/>
                <xsd:element ref="ns4:lbla" minOccurs="0"/>
                <xsd:element ref="ns4:MediaServiceKeyPoints" minOccurs="0"/>
                <xsd:element ref="ns2:GenericHTML1" minOccurs="0"/>
                <xsd:element ref="ns2:GenericText2" minOccurs="0"/>
                <xsd:element ref="ns2:FolderExtensions"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bf80e81150e248c48aa8cffdf0021a1f"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od9986d31974458fb3007746ec0bce5f" minOccurs="0"/>
                <xsd:element ref="ns2:k21a64daf20d4502b2796a1c6b8ce6c8" minOccurs="0"/>
                <xsd:element ref="ns1:_dlc_Exempt" minOccurs="0"/>
                <xsd:element ref="ns1:_dlc_ExpireDateSaved" minOccurs="0"/>
                <xsd:element ref="ns1:_dlc_ExpireDate" minOccurs="0"/>
                <xsd:element ref="ns2:ef109fd36bcf4bcd9dd945731030600b" minOccurs="0"/>
                <xsd:element ref="ns4:MediaServiceOCR" minOccurs="0"/>
                <xsd:element ref="ns4:MediaServiceEventHashCode" minOccurs="0"/>
                <xsd:element ref="ns4:MediaServiceGenerationTime" minOccurs="0"/>
                <xsd:element ref="ns4:MediaServiceAutoKeyPoints" minOccurs="0"/>
                <xsd:element ref="ns2:hd9637eefc984b85b6097c6374e15725" minOccurs="0"/>
                <xsd:element ref="ns2:k8073fd852084ec1ba6e2c8d5ade6bf8" minOccurs="0"/>
                <xsd:element ref="ns2:ga0c0bf70a6644469c61b3efa7025301" minOccurs="0"/>
                <xsd:element ref="ns2:mafbf0bb15774bf782b6f7937f17c8ce" minOccurs="0"/>
                <xsd:element ref="ns2:i7ea4c13ddfd467b9bb281d44c777b52" minOccurs="0"/>
                <xsd:element ref="ns2:i1b478372f814787abd313030b81fcb2" minOccurs="0"/>
                <xsd:element ref="ns1:RoutingRule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15"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8" nillable="true" ma:displayName="Rating (0-5)" ma:decimals="2" ma:description="Average value of all the ratings that have been submitted" ma:internalName="AverageRating" ma:readOnly="true">
      <xsd:simpleType>
        <xsd:restriction base="dms:Number"/>
      </xsd:simpleType>
    </xsd:element>
    <xsd:element name="RatingCount" ma:index="19" nillable="true" ma:displayName="Number of Ratings" ma:decimals="0" ma:description="Number of ratings submitted" ma:internalName="RatingCount" ma:readOnly="true">
      <xsd:simpleType>
        <xsd:restriction base="dms:Number"/>
      </xsd:simpleType>
    </xsd:element>
    <xsd:element name="PublishingExpirationDate" ma:index="22"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element name="RoutingRuleDescription" ma:index="92" nillable="true" ma:displayName="Description" ma: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ma:readOnly="false">
      <xsd:simpleType>
        <xsd:restriction base="dms:Note"/>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nersManager" ma:index="4" ma:displayName="Owner's Manager" ma:description="Manager of the owner of the content." ma:list="UserInfo" ma:SearchPeopleOnly="false" ma:SharePointGroup="0" ma:internalName="OwnersManag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Expire_x0020_Review" ma:index="11" nillable="true" ma:displayName="Expiration" ma:format="DateOnly" ma:internalName="Expire_x0020_Review" ma:readOnly="false">
      <xsd:simpleType>
        <xsd:restriction base="dms:DateTime"/>
      </xsd:simpleType>
    </xsd:element>
    <xsd:element name="Thumbnail1" ma:index="16"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4" nillable="true" ma:displayName="ContentID" ma:indexed="true" ma:internalName="ContentID" ma:readOnly="false">
      <xsd:simpleType>
        <xsd:restriction base="dms:Text">
          <xsd:maxLength value="255"/>
        </xsd:restriction>
      </xsd:simpleType>
    </xsd:element>
    <xsd:element name="Blog_x0020_Name" ma:index="25" nillable="true" ma:displayName="Blog Name" ma:description="Title of an Infopedia Blog" ma:internalName="Blog_x0020_Name">
      <xsd:simpleType>
        <xsd:restriction base="dms:Text">
          <xsd:maxLength value="255"/>
        </xsd:restriction>
      </xsd:simpleType>
    </xsd:element>
    <xsd:element name="Coowner" ma:index="3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arentID1" ma:index="40"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HTML1" ma:index="45" nillable="true" ma:displayName="GenericHTML1" ma:description="Generic field for future features in implementation" ma:internalName="GenericHTML1">
      <xsd:simpleType>
        <xsd:restriction base="dms:Unknown"/>
      </xsd:simpleType>
    </xsd:element>
    <xsd:element name="GenericText2" ma:index="46" nillable="true" ma:displayName="GenericText2" ma:description="Generic field for future features in implementation" ma:indexed="true" ma:internalName="GenericText2">
      <xsd:simpleType>
        <xsd:restriction base="dms:Text">
          <xsd:maxLength value="255"/>
        </xsd:restriction>
      </xsd:simpleType>
    </xsd:element>
    <xsd:element name="FolderExtensions" ma:index="47" nillable="true" ma:displayName="Folder Extensions" ma:description="On-DocSet sub folder to support inactive documents views." ma:internalName="FolderExtensions">
      <xsd:simpleType>
        <xsd:restriction base="dms:Unknown"/>
      </xsd:simple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7"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od9986d31974458fb3007746ec0bce5f" ma:index="74"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75"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8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85"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k8073fd852084ec1ba6e2c8d5ade6bf8" ma:index="86" ma:taxonomy="true" ma:internalName="k8073fd852084ec1ba6e2c8d5ade6bf8" ma:taxonomyFieldName="Solution_x0020_Areas" ma:displayName="Solution Areas" ma:default="" ma:fieldId="{48073fd8-5208-4ec1-ba6e-2c8d5ade6bf8}" ma:taxonomyMulti="true" ma:sspId="e385fb40-52d4-4fae-9c5b-3e8ff8a5878e" ma:termSetId="b3c4a436-adac-4141-8add-ff9b56e1c976" ma:anchorId="c469a396-9286-43a4-a826-6e5559b48bb4" ma:open="false" ma:isKeyword="false">
      <xsd:complexType>
        <xsd:sequence>
          <xsd:element ref="pc:Terms" minOccurs="0" maxOccurs="1"/>
        </xsd:sequence>
      </xsd:complexType>
    </xsd:element>
    <xsd:element name="ga0c0bf70a6644469c61b3efa7025301" ma:index="87"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mafbf0bb15774bf782b6f7937f17c8ce" ma:index="88" nillable="true" ma:taxonomy="true" ma:internalName="mafbf0bb15774bf782b6f7937f17c8ce" ma:taxonomyFieldName="MSProfessions" ma:displayName="MS Professions" ma:readOnly="false" ma:default="" ma:fieldId="{6afbf0bb-1577-4bf7-82b6-f7937f17c8ce}" ma:taxonomyMulti="true" ma:sspId="e385fb40-52d4-4fae-9c5b-3e8ff8a5878e" ma:termSetId="270e6016-5c27-496c-a5c0-1503b0a4f45c" ma:anchorId="8870fa9b-5abd-4403-b641-6cc4a026dfde" ma:open="false" ma:isKeyword="false">
      <xsd:complexType>
        <xsd:sequence>
          <xsd:element ref="pc:Terms" minOccurs="0" maxOccurs="1"/>
        </xsd:sequence>
      </xsd:complexType>
    </xsd:element>
    <xsd:element name="i7ea4c13ddfd467b9bb281d44c777b52" ma:index="90" nillable="true" ma:taxonomy="true" ma:internalName="i7ea4c13ddfd467b9bb281d44c777b52" ma:taxonomyFieldName="SMSG_x0020_Items" ma:displayName="SMSG Items" ma:default="" ma:fieldId="{27ea4c13-ddfd-467b-9bb2-81d44c777b52}" ma:sspId="e385fb40-52d4-4fae-9c5b-3e8ff8a5878e" ma:termSetId="f8967457-31aa-473d-be88-d724930b3d1e" ma:anchorId="12c654ad-e9ff-4734-91a8-0b47fd9d3f07" ma:open="false" ma:isKeyword="false">
      <xsd:complexType>
        <xsd:sequence>
          <xsd:element ref="pc:Terms" minOccurs="0" maxOccurs="1"/>
        </xsd:sequence>
      </xsd:complexType>
    </xsd:element>
    <xsd:element name="i1b478372f814787abd313030b81fcb2" ma:index="91"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10" nillable="true" ma:displayName="PublishDate" ma:description="Used in Blog Posts, this date is used to specify the Blog Article Date." ma:format="DateOnly" ma:internalName="PublishDate">
      <xsd:simpleType>
        <xsd:restriction base="dms:DateTime"/>
      </xsd:simpleType>
    </xsd:element>
    <xsd:element name="ApplyWorkflowRules" ma:index="23"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dkll" ma:index="41" nillable="true" ma:displayName="SMSG Topics" ma:internalName="dkll">
      <xsd:simpleType>
        <xsd:restriction base="dms:Text"/>
      </xsd:simpleType>
    </xsd:element>
    <xsd:element name="Update_x0020_Expiration_x0020_Date_x0020_For_x0020_Docset" ma:index="42"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43"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KeyPoints" ma:index="44" nillable="true" ma:displayName="KeyPoints" ma:internalName="MediaServiceKeyPoints" ma:readOnly="false">
      <xsd:simpleType>
        <xsd:restriction base="dms:Note">
          <xsd:maxLength value="255"/>
        </xsd:restriction>
      </xsd:simpleType>
    </xsd:element>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L100 Cognitive Services overview deck - updated with Bing Entity Search</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Brian Marble</DisplayName>
        <AccountId>115203</AccountId>
        <AccountType/>
      </UserInfo>
    </Owner>
    <PublishDate xmlns="230E9DF3-BE65-4C73-A93B-D1236EBD677E">2018-04-02T07:00:00+00:00</PublishDate>
    <GenericHTML1 xmlns="230e9df3-be65-4c73-a93b-d1236ebd677e" xsi:nil="true"/>
    <k21a64daf20d4502b2796a1c6b8ce6c8 xmlns="230e9df3-be65-4c73-a93b-d1236ebd677e">
      <Terms xmlns="http://schemas.microsoft.com/office/infopath/2007/PartnerControls"/>
    </k21a64daf20d4502b2796a1c6b8ce6c8>
    <Expire_x0020_Review xmlns="230e9df3-be65-4c73-a93b-d1236ebd677e">2019-12-31T08: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olution Areas Domain</TermName>
          <TermId xmlns="http://schemas.microsoft.com/office/infopath/2007/PartnerControls">29128e03-27e8-43b8-a392-e62406af9c80</TermId>
        </TermInfo>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bmarb@microsoft.com</DisplayName>
        <AccountId>115203</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Cognitive Services</TermName>
          <TermId xmlns="http://schemas.microsoft.com/office/infopath/2007/PartnerControls">d4822b8f-2d1c-4a11-826f-7fd59398add0</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TermInfo xmlns="http://schemas.microsoft.com/office/infopath/2007/PartnerControls">
          <TermName xmlns="http://schemas.microsoft.com/office/infopath/2007/PartnerControls">Technology Solutions Professional</TermName>
          <TermId xmlns="http://schemas.microsoft.com/office/infopath/2007/PartnerControls">18ae106e-2924-4f2d-83ba-9b3af46c5a31</TermId>
        </TermInfo>
      </Terms>
    </b60f8d2dbb984f349d80d8196897f4d3>
    <Thumbnail1 xmlns="230e9df3-be65-4c73-a93b-d1236ebd677e">
      <Url>https://microsoft.sharepoint.com/sites/Infopedia_G01KC/Style%20Library/Thumbnails/G01KC-1-29493/Cognitive%20Services%20Walking%20Deck.png</Url>
      <Description>/sites/Infopedia_G01KC/Style Library/Thumbnails/G01KC-1-29493/Cognitive Services Walking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3090</Value>
      <Value>31</Value>
      <Value>29</Value>
      <Value>435</Value>
      <Value>3097</Value>
      <Value>2325</Value>
      <Value>354</Value>
      <Value>20</Value>
      <Value>3091</Value>
      <Value>21</Value>
      <Value>14</Value>
      <Value>2490</Value>
      <Value>2119</Value>
      <Value>374</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29467</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_dlc_DocId xmlns="230e9df3-be65-4c73-a93b-d1236ebd677e">G01KC-99682991-29493</_dlc_DocId>
    <_dlc_DocIdUrl xmlns="230e9df3-be65-4c73-a93b-d1236ebd677e">
      <Url>https://microsoft.sharepoint.com/sites/Infopedia_G01KC/_layouts/15/DocIdRedir.aspx?ID=G01KC-99682991-29493</Url>
      <Description>G01KC-99682991-29493</Description>
    </_dlc_DocIdUrl>
    <_dlc_ExpireDateSaved xmlns="http://schemas.microsoft.com/sharepoint/v3" xsi:nil="true"/>
    <_dlc_ExpireDate xmlns="http://schemas.microsoft.com/sharepoint/v3">2020-01-30T08:00:00+00:00</_dlc_ExpireDate>
    <lbla xmlns="b3bc04a5-d503-43b1-b98c-a8cf663329d9">
      <UserInfo>
        <DisplayName/>
        <AccountId xsi:nil="true"/>
        <AccountType/>
      </UserInfo>
    </lbla>
    <MediaServiceKeyPoints xmlns="b3bc04a5-d503-43b1-b98c-a8cf663329d9" xsi:nil="true"/>
    <OwnersManager xmlns="230e9df3-be65-4c73-a93b-d1236ebd677e">
      <UserInfo>
        <DisplayName>Orlagh Neary</DisplayName>
        <AccountId>266</AccountId>
        <AccountType/>
      </UserInfo>
    </OwnersManager>
    <i7ea4c13ddfd467b9bb281d44c777b52 xmlns="230e9df3-be65-4c73-a93b-d1236ebd677e">
      <Terms xmlns="http://schemas.microsoft.com/office/infopath/2007/PartnerControls">
        <TermInfo xmlns="http://schemas.microsoft.com/office/infopath/2007/PartnerControls">
          <TermName xmlns="http://schemas.microsoft.com/office/infopath/2007/PartnerControls">documents</TermName>
          <TermId xmlns="http://schemas.microsoft.com/office/infopath/2007/PartnerControls">e037ed84-7d8e-4cbb-9c8f-61e80301a44f</TermId>
        </TermInfo>
      </Terms>
    </i7ea4c13ddfd467b9bb281d44c777b52>
    <mafbf0bb15774bf782b6f7937f17c8ce xmlns="230e9df3-be65-4c73-a93b-d1236ebd677e">
      <Terms xmlns="http://schemas.microsoft.com/office/infopath/2007/PartnerControls">
        <TermInfo xmlns="http://schemas.microsoft.com/office/infopath/2007/PartnerControls">
          <TermName xmlns="http://schemas.microsoft.com/office/infopath/2007/PartnerControls">Business Development ＆ Strategy</TermName>
          <TermId xmlns="http://schemas.microsoft.com/office/infopath/2007/PartnerControls">e15e035a-c407-4f56-adf2-716c26e5bbdb</TermId>
        </TermInfo>
      </Terms>
    </mafbf0bb15774bf782b6f7937f17c8ce>
    <k8073fd852084ec1ba6e2c8d5ade6bf8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s>
    </k8073fd852084ec1ba6e2c8d5ade6bf8>
  </documentManagement>
</p:properties>
</file>

<file path=customXml/item5.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6.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Props1.xml><?xml version="1.0" encoding="utf-8"?>
<ds:datastoreItem xmlns:ds="http://schemas.openxmlformats.org/officeDocument/2006/customXml" ds:itemID="{5002F779-C685-4FB7-AC36-4199056E8F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0CFEA43-4BDE-4FDD-87EA-A5929F239C6C}">
  <ds:schemaRefs>
    <ds:schemaRef ds:uri="http://schemas.microsoft.com/sharepoint/events"/>
  </ds:schemaRefs>
</ds:datastoreItem>
</file>

<file path=customXml/itemProps3.xml><?xml version="1.0" encoding="utf-8"?>
<ds:datastoreItem xmlns:ds="http://schemas.openxmlformats.org/officeDocument/2006/customXml" ds:itemID="{0183B4B2-99EA-4AD7-A286-BABF5A102E53}">
  <ds:schemaRefs>
    <ds:schemaRef ds:uri="http://schemas.microsoft.com/sharepoint/v3/contenttype/forms"/>
  </ds:schemaRefs>
</ds:datastoreItem>
</file>

<file path=customXml/itemProps4.xml><?xml version="1.0" encoding="utf-8"?>
<ds:datastoreItem xmlns:ds="http://schemas.openxmlformats.org/officeDocument/2006/customXml" ds:itemID="{57A5C839-C9CA-4569-A7F3-278111B05EF0}">
  <ds:schemaRefs>
    <ds:schemaRef ds:uri="http://schemas.microsoft.com/office/2006/metadata/properties"/>
    <ds:schemaRef ds:uri="http://schemas.microsoft.com/office/infopath/2007/PartnerControls"/>
    <ds:schemaRef ds:uri="230e9df3-be65-4c73-a93b-d1236ebd677e"/>
    <ds:schemaRef ds:uri="230E9DF3-BE65-4C73-A93B-D1236EBD677E"/>
    <ds:schemaRef ds:uri="http://schemas.microsoft.com/sharepoint/v3"/>
    <ds:schemaRef ds:uri="b3bc04a5-d503-43b1-b98c-a8cf663329d9"/>
  </ds:schemaRefs>
</ds:datastoreItem>
</file>

<file path=customXml/itemProps5.xml><?xml version="1.0" encoding="utf-8"?>
<ds:datastoreItem xmlns:ds="http://schemas.openxmlformats.org/officeDocument/2006/customXml" ds:itemID="{F4BB3DC5-F0F6-4336-AF13-71ECB076DEAB}">
  <ds:schemaRefs>
    <ds:schemaRef ds:uri="office.server.policy"/>
  </ds:schemaRefs>
</ds:datastoreItem>
</file>

<file path=customXml/itemProps6.xml><?xml version="1.0" encoding="utf-8"?>
<ds:datastoreItem xmlns:ds="http://schemas.openxmlformats.org/officeDocument/2006/customXml" ds:itemID="{F5626892-6482-4B36-B3B1-DEE9D91EE395}">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2521</TotalTime>
  <Words>9278</Words>
  <Application>Microsoft Office PowerPoint</Application>
  <PresentationFormat>Widescreen</PresentationFormat>
  <Paragraphs>573</Paragraphs>
  <Slides>24</Slides>
  <Notes>19</Notes>
  <HiddenSlides>6</HiddenSlides>
  <MMClips>1</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3" baseType="lpstr">
      <vt:lpstr>Arial</vt:lpstr>
      <vt:lpstr>Calibri</vt:lpstr>
      <vt:lpstr>Consolas</vt:lpstr>
      <vt:lpstr>Segoe UI</vt:lpstr>
      <vt:lpstr>Segoe UI Light</vt:lpstr>
      <vt:lpstr>Segoe UI Semibold</vt:lpstr>
      <vt:lpstr>Segoe UI Semilight</vt:lpstr>
      <vt:lpstr>SMSG Readiness Master Template 16x9_MODIFIED</vt:lpstr>
      <vt:lpstr>think-cell Slide</vt:lpstr>
      <vt:lpstr>Microsoft  Cognitive Services</vt:lpstr>
      <vt:lpstr>Microsoft Cognitive Services Give your apps a human side</vt:lpstr>
      <vt:lpstr>Why Microsoft  Cognitive Services?</vt:lpstr>
      <vt:lpstr>Microsoft Cognitive Services updates</vt:lpstr>
      <vt:lpstr>Cognitive Services capabilities Infuse your apps, websites, and bots with human-like intelligence </vt:lpstr>
      <vt:lpstr>A variety of real-world applications</vt:lpstr>
      <vt:lpstr>Cognitive Services Available in Power BI These services are available to Power BI dataflows in a “turn key” fash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veloper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gnitive Services Walking Deck - L100</dc:title>
  <dc:creator>russ rogers</dc:creator>
  <cp:lastModifiedBy>Chris Mitchell (OCP)</cp:lastModifiedBy>
  <cp:revision>88</cp:revision>
  <dcterms:modified xsi:type="dcterms:W3CDTF">2020-02-24T16:17: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67e5d4b76f4a9db8769983fda9cec0">
    <vt:lpwstr/>
  </property>
  <property fmtid="{D5CDD505-2E9C-101B-9397-08002B2CF9AE}" pid="3" name="TaxKeyword">
    <vt:lpwstr/>
  </property>
  <property fmtid="{D5CDD505-2E9C-101B-9397-08002B2CF9AE}" pid="4" name="NewsType">
    <vt:lpwstr/>
  </property>
  <property fmtid="{D5CDD505-2E9C-101B-9397-08002B2CF9AE}" pid="5" name="_dlc_policyId">
    <vt:lpwstr>0x0101000E4CB7077FEE4FF7AE86D4A500EEC780030016C849C62B10EB41ACA8C7EEDEF40BB20099ECF64382448D48A56095091C66B1A9|-661092312</vt:lpwstr>
  </property>
  <property fmtid="{D5CDD505-2E9C-101B-9397-08002B2CF9AE}" pid="6" name="Region">
    <vt:lpwstr/>
  </property>
  <property fmtid="{D5CDD505-2E9C-101B-9397-08002B2CF9AE}" pid="7" name="Confidentiality">
    <vt:lpwstr>14;#customer ready|8986c41d-21c5-4f8f-8a12-ea4625b46858</vt:lpwstr>
  </property>
  <property fmtid="{D5CDD505-2E9C-101B-9397-08002B2CF9AE}" pid="8" name="ItemType">
    <vt:lpwstr>435;#technical presentations|83a894cf-702b-47fc-aba5-41bd10dc1e75</vt:lpwstr>
  </property>
  <property fmtid="{D5CDD505-2E9C-101B-9397-08002B2CF9AE}" pid="9" name="ContentTypeId">
    <vt:lpwstr>0x0101000E4CB7077FEE4FF7AE86D4A500EEC780030016C849C62B10EB41ACA8C7EEDEF40BB20099ECF64382448D48A56095091C66B1A9</vt:lpwstr>
  </property>
  <property fmtid="{D5CDD505-2E9C-101B-9397-08002B2CF9AE}" pid="10" name="ga0c0bf70a6644469c61b3efa7025301">
    <vt:lpwstr/>
  </property>
  <property fmtid="{D5CDD505-2E9C-101B-9397-08002B2CF9AE}" pid="11" name="Industries">
    <vt:lpwstr/>
  </property>
  <property fmtid="{D5CDD505-2E9C-101B-9397-08002B2CF9AE}" pid="12" name="MSProducts">
    <vt:lpwstr/>
  </property>
  <property fmtid="{D5CDD505-2E9C-101B-9397-08002B2CF9AE}" pid="13" name="Competitors">
    <vt:lpwstr/>
  </property>
  <property fmtid="{D5CDD505-2E9C-101B-9397-08002B2CF9AE}" pid="14" name="SMSGDomain">
    <vt:lpwstr>2490;#Solution Areas Domain|29128e03-27e8-43b8-a392-e62406af9c80;#21;#Intelligent Cloud|adc2fe87-c79a-4ded-a449-3f86b954069d;#20;#Microsoft Azure Domain|d600a391-d529-4311-892b-2c05c1ab2538</vt:lpwstr>
  </property>
  <property fmtid="{D5CDD505-2E9C-101B-9397-08002B2CF9AE}" pid="15" name="ExperienceContentType">
    <vt:lpwstr/>
  </property>
  <property fmtid="{D5CDD505-2E9C-101B-9397-08002B2CF9AE}" pid="16" name="BusinessArchitecture">
    <vt:lpwstr>2325;#Data and AI|60d86926-9fc6-4873-ad19-e15bf82160d7;#374;#machine learning|912b89bd-3197-4d37-838b-dea3c299099a</vt:lpwstr>
  </property>
  <property fmtid="{D5CDD505-2E9C-101B-9397-08002B2CF9AE}" pid="17" name="SMSGTags">
    <vt:lpwstr/>
  </property>
  <property fmtid="{D5CDD505-2E9C-101B-9397-08002B2CF9AE}" pid="18" name="Products">
    <vt:lpwstr>2119;#Microsoft Cognitive Services|d4822b8f-2d1c-4a11-826f-7fd59398add0</vt:lpwstr>
  </property>
  <property fmtid="{D5CDD505-2E9C-101B-9397-08002B2CF9AE}" pid="19" name="_dlc_DocIdItemGuid">
    <vt:lpwstr>d8539686-2b70-40fa-be8a-2e3513954b36</vt:lpwstr>
  </property>
  <property fmtid="{D5CDD505-2E9C-101B-9397-08002B2CF9AE}" pid="20" name="MSPhysicalGeography">
    <vt:lpwstr/>
  </property>
  <property fmtid="{D5CDD505-2E9C-101B-9397-08002B2CF9AE}" pid="21" name="j3562c58ee414e028925bc902cfc01a1">
    <vt:lpwstr/>
  </property>
  <property fmtid="{D5CDD505-2E9C-101B-9397-08002B2CF9AE}" pid="22" name="EnterpriseDomainTags">
    <vt:lpwstr/>
  </property>
  <property fmtid="{D5CDD505-2E9C-101B-9397-08002B2CF9AE}" pid="23" name="l6f004f21209409da86a713c0f24627d">
    <vt:lpwstr/>
  </property>
  <property fmtid="{D5CDD505-2E9C-101B-9397-08002B2CF9AE}" pid="24" name="ActivitiesAndPrograms">
    <vt:lpwstr/>
  </property>
  <property fmtid="{D5CDD505-2E9C-101B-9397-08002B2CF9AE}" pid="25" name="Segments">
    <vt:lpwstr/>
  </property>
  <property fmtid="{D5CDD505-2E9C-101B-9397-08002B2CF9AE}" pid="26" name="Partners">
    <vt:lpwstr/>
  </property>
  <property fmtid="{D5CDD505-2E9C-101B-9397-08002B2CF9AE}" pid="27" name="la4444b61d19467597d63190b69ac227">
    <vt:lpwstr/>
  </property>
  <property fmtid="{D5CDD505-2E9C-101B-9397-08002B2CF9AE}" pid="28" name="Topics">
    <vt:lpwstr>29;#features|94b87768-f145-4764-adbd-fec700e47348</vt:lpwstr>
  </property>
  <property fmtid="{D5CDD505-2E9C-101B-9397-08002B2CF9AE}" pid="29" name="Groups">
    <vt:lpwstr>31;#Microsoft Azure Marketing|0958c357-5252-473f-8b4e-42f27525a99d</vt:lpwstr>
  </property>
  <property fmtid="{D5CDD505-2E9C-101B-9397-08002B2CF9AE}" pid="30" name="MSProductsTaxHTField0">
    <vt:lpwstr/>
  </property>
  <property fmtid="{D5CDD505-2E9C-101B-9397-08002B2CF9AE}" pid="31" name="Languages">
    <vt:lpwstr/>
  </property>
  <property fmtid="{D5CDD505-2E9C-101B-9397-08002B2CF9AE}" pid="32" name="e8080b0481964c759b2c36ae49591b31">
    <vt:lpwstr/>
  </property>
  <property fmtid="{D5CDD505-2E9C-101B-9397-08002B2CF9AE}" pid="33" name="_docset_NoMedatataSyncRequired">
    <vt:lpwstr>False</vt:lpwstr>
  </property>
  <property fmtid="{D5CDD505-2E9C-101B-9397-08002B2CF9AE}" pid="34" name="TechnicalLevel">
    <vt:lpwstr/>
  </property>
  <property fmtid="{D5CDD505-2E9C-101B-9397-08002B2CF9AE}" pid="35" name="Audiences">
    <vt:lpwstr/>
  </property>
  <property fmtid="{D5CDD505-2E9C-101B-9397-08002B2CF9AE}" pid="36" name="ldac8aee9d1f469e8cd8c3f8d6a615f2">
    <vt:lpwstr/>
  </property>
  <property fmtid="{D5CDD505-2E9C-101B-9397-08002B2CF9AE}" pid="37" name="EmployeeRole">
    <vt:lpwstr/>
  </property>
  <property fmtid="{D5CDD505-2E9C-101B-9397-08002B2CF9AE}" pid="38" name="NewsTopic">
    <vt:lpwstr/>
  </property>
  <property fmtid="{D5CDD505-2E9C-101B-9397-08002B2CF9AE}" pid="39" name="Roles">
    <vt:lpwstr>354;#Technology Solutions Professional|18ae106e-2924-4f2d-83ba-9b3af46c5a31</vt:lpwstr>
  </property>
  <property fmtid="{D5CDD505-2E9C-101B-9397-08002B2CF9AE}" pid="40" name="ItemRetentionFormula">
    <vt:lpwstr>&lt;formula id="Microsoft.Office.RecordsManagement.PolicyFeatures.Expiration.Formula.BuiltIn"&gt;&lt;number&gt;30&lt;/number&gt;&lt;property&gt;Expire_x005f_x0020_Review&lt;/property&gt;&lt;propertyId&gt;4efb7b69-53dd-4711-a372-96a7c80c7a38&lt;/propertyId&gt;&lt;period&gt;days&lt;/period&gt;&lt;/formula&gt;</vt:lpwstr>
  </property>
  <property fmtid="{D5CDD505-2E9C-101B-9397-08002B2CF9AE}" pid="41" name="NewsSource">
    <vt:lpwstr/>
  </property>
  <property fmtid="{D5CDD505-2E9C-101B-9397-08002B2CF9AE}" pid="42" name="SharedWithUsers">
    <vt:lpwstr>25388;#Natalia Garcia (Consultora Marco Chile CIA LTD);#4900;#Boon Teng Tan;#6194;#Raymond Chin;#79478;#David Caicedo;#46697;#Samuel Denton-Giles;#60837;#Doug Schieffer;#5652;#Ahmed Howaidy;#100200;#Mike Kiernan;#97949;#Robert Zimmermann;#82257;#Rania Gou</vt:lpwstr>
  </property>
  <property fmtid="{D5CDD505-2E9C-101B-9397-08002B2CF9AE}" pid="43" name="FolderExtensions">
    <vt:lpwstr/>
  </property>
  <property fmtid="{D5CDD505-2E9C-101B-9397-08002B2CF9AE}" pid="44" name="ParentID1">
    <vt:lpwstr>G01KC-1-19180</vt:lpwstr>
  </property>
  <property fmtid="{D5CDD505-2E9C-101B-9397-08002B2CF9AE}" pid="45" name="MSIP_Label_f42aa342-8706-4288-bd11-ebb85995028c_Enabled">
    <vt:lpwstr>True</vt:lpwstr>
  </property>
  <property fmtid="{D5CDD505-2E9C-101B-9397-08002B2CF9AE}" pid="46" name="MSIP_Label_f42aa342-8706-4288-bd11-ebb85995028c_SiteId">
    <vt:lpwstr>72f988bf-86f1-41af-91ab-2d7cd011db47</vt:lpwstr>
  </property>
  <property fmtid="{D5CDD505-2E9C-101B-9397-08002B2CF9AE}" pid="47" name="MSIP_Label_f42aa342-8706-4288-bd11-ebb85995028c_Ref">
    <vt:lpwstr>https://api.informationprotection.azure.com/api/72f988bf-86f1-41af-91ab-2d7cd011db47</vt:lpwstr>
  </property>
  <property fmtid="{D5CDD505-2E9C-101B-9397-08002B2CF9AE}" pid="48" name="MSIP_Label_f42aa342-8706-4288-bd11-ebb85995028c_SetBy">
    <vt:lpwstr>gibattag@microsoft.com</vt:lpwstr>
  </property>
  <property fmtid="{D5CDD505-2E9C-101B-9397-08002B2CF9AE}" pid="49" name="MSIP_Label_f42aa342-8706-4288-bd11-ebb85995028c_SetDate">
    <vt:lpwstr>2017-05-10T00:12:33.1717880-07:00</vt:lpwstr>
  </property>
  <property fmtid="{D5CDD505-2E9C-101B-9397-08002B2CF9AE}" pid="50" name="MSIP_Label_f42aa342-8706-4288-bd11-ebb85995028c_Name">
    <vt:lpwstr>General</vt:lpwstr>
  </property>
  <property fmtid="{D5CDD505-2E9C-101B-9397-08002B2CF9AE}" pid="51" name="MSIP_Label_f42aa342-8706-4288-bd11-ebb85995028c_Application">
    <vt:lpwstr>Microsoft Azure Information Protection</vt:lpwstr>
  </property>
  <property fmtid="{D5CDD505-2E9C-101B-9397-08002B2CF9AE}" pid="52" name="MSIP_Label_f42aa342-8706-4288-bd11-ebb85995028c_Extended_MSFT_Method">
    <vt:lpwstr>Automatic</vt:lpwstr>
  </property>
  <property fmtid="{D5CDD505-2E9C-101B-9397-08002B2CF9AE}" pid="53" name="Sensitivity">
    <vt:lpwstr>General</vt:lpwstr>
  </property>
  <property fmtid="{D5CDD505-2E9C-101B-9397-08002B2CF9AE}" pid="54" name="LastSharedByUser">
    <vt:lpwstr>rozimmer@microsoft.com</vt:lpwstr>
  </property>
  <property fmtid="{D5CDD505-2E9C-101B-9397-08002B2CF9AE}" pid="55" name="LastSharedByTime">
    <vt:filetime>2017-12-08T12:55:29Z</vt:filetime>
  </property>
  <property fmtid="{D5CDD505-2E9C-101B-9397-08002B2CF9AE}" pid="56" name="SMSG Items">
    <vt:lpwstr>3091;#documents|e037ed84-7d8e-4cbb-9c8f-61e80301a44f</vt:lpwstr>
  </property>
  <property fmtid="{D5CDD505-2E9C-101B-9397-08002B2CF9AE}" pid="57" name="Solution Areas">
    <vt:lpwstr>3097;#Data and AI|60d86926-9fc6-4873-ad19-e15bf82160d7</vt:lpwstr>
  </property>
  <property fmtid="{D5CDD505-2E9C-101B-9397-08002B2CF9AE}" pid="58" name="MSProfessions">
    <vt:lpwstr>3090;#Business Development ＆ Strategy|e15e035a-c407-4f56-adf2-716c26e5bbdb</vt:lpwstr>
  </property>
</Properties>
</file>